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258" r:id="rId2"/>
    <p:sldId id="298" r:id="rId3"/>
    <p:sldId id="259" r:id="rId4"/>
    <p:sldId id="299" r:id="rId5"/>
    <p:sldId id="305" r:id="rId6"/>
    <p:sldId id="309" r:id="rId7"/>
    <p:sldId id="306" r:id="rId8"/>
    <p:sldId id="308" r:id="rId9"/>
    <p:sldId id="300" r:id="rId10"/>
    <p:sldId id="311" r:id="rId11"/>
    <p:sldId id="312" r:id="rId12"/>
    <p:sldId id="315" r:id="rId13"/>
    <p:sldId id="313" r:id="rId14"/>
    <p:sldId id="302" r:id="rId15"/>
    <p:sldId id="316" r:id="rId16"/>
    <p:sldId id="317" r:id="rId17"/>
    <p:sldId id="318" r:id="rId18"/>
    <p:sldId id="303" r:id="rId19"/>
    <p:sldId id="320" r:id="rId20"/>
    <p:sldId id="321" r:id="rId21"/>
    <p:sldId id="268" r:id="rId22"/>
  </p:sldIdLst>
  <p:sldSz cx="12192000" cy="6858000"/>
  <p:notesSz cx="6797675" cy="9928225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EB4919EB-4E9F-43BD-8966-D11A71AA4C9A}">
          <p14:sldIdLst>
            <p14:sldId id="258"/>
            <p14:sldId id="298"/>
            <p14:sldId id="259"/>
          </p14:sldIdLst>
        </p14:section>
        <p14:section name="Analyse und Herangehensweise" id="{C123B618-2F11-49C5-88B8-A81124EBFDAD}">
          <p14:sldIdLst>
            <p14:sldId id="299"/>
            <p14:sldId id="305"/>
            <p14:sldId id="309"/>
            <p14:sldId id="306"/>
            <p14:sldId id="308"/>
          </p14:sldIdLst>
        </p14:section>
        <p14:section name="Programm / System" id="{C03381CF-EB66-4E44-A3D8-A1238F510897}">
          <p14:sldIdLst>
            <p14:sldId id="300"/>
            <p14:sldId id="311"/>
            <p14:sldId id="312"/>
            <p14:sldId id="315"/>
            <p14:sldId id="313"/>
          </p14:sldIdLst>
        </p14:section>
        <p14:section name="Testing" id="{BA7C7545-60A4-46BC-BBC7-9A7D1DB3A2D6}">
          <p14:sldIdLst>
            <p14:sldId id="302"/>
            <p14:sldId id="316"/>
            <p14:sldId id="317"/>
            <p14:sldId id="318"/>
          </p14:sldIdLst>
        </p14:section>
        <p14:section name="Ergebnisinterpretation und Ausblick" id="{591DAD19-06CC-4EB1-8714-6ED8C47FFD88}">
          <p14:sldIdLst>
            <p14:sldId id="303"/>
            <p14:sldId id="320"/>
            <p14:sldId id="321"/>
          </p14:sldIdLst>
        </p14:section>
        <p14:section name="Abschluss" id="{E00D01BA-97E6-431E-9232-C1279E2CE575}">
          <p14:sldIdLst>
            <p14:sldId id="26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455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4020" userDrawn="1">
          <p15:clr>
            <a:srgbClr val="A4A3A4"/>
          </p15:clr>
        </p15:guide>
        <p15:guide id="4" pos="234" userDrawn="1">
          <p15:clr>
            <a:srgbClr val="A4A3A4"/>
          </p15:clr>
        </p15:guide>
        <p15:guide id="5" pos="3749" userDrawn="1">
          <p15:clr>
            <a:srgbClr val="A4A3A4"/>
          </p15:clr>
        </p15:guide>
        <p15:guide id="6" pos="3931" userDrawn="1">
          <p15:clr>
            <a:srgbClr val="A4A3A4"/>
          </p15:clr>
        </p15:guide>
        <p15:guide id="7" pos="7446" userDrawn="1">
          <p15:clr>
            <a:srgbClr val="A4A3A4"/>
          </p15:clr>
        </p15:guide>
        <p15:guide id="8" orient="horz" pos="89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497" autoAdjust="0"/>
    <p:restoredTop sz="78627" autoAdjust="0"/>
  </p:normalViewPr>
  <p:slideViewPr>
    <p:cSldViewPr showGuides="1">
      <p:cViewPr varScale="1">
        <p:scale>
          <a:sx n="103" d="100"/>
          <a:sy n="103" d="100"/>
        </p:scale>
        <p:origin x="630" y="72"/>
      </p:cViewPr>
      <p:guideLst>
        <p:guide orient="horz" pos="2455"/>
        <p:guide pos="3840"/>
        <p:guide orient="horz" pos="4020"/>
        <p:guide pos="234"/>
        <p:guide pos="3749"/>
        <p:guide pos="3931"/>
        <p:guide pos="7446"/>
        <p:guide orient="horz" pos="89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" d="1"/>
        <a:sy n="1" d="1"/>
      </p:scale>
      <p:origin x="0" y="-4194"/>
    </p:cViewPr>
  </p:sorterViewPr>
  <p:notesViewPr>
    <p:cSldViewPr showGuides="1">
      <p:cViewPr varScale="1">
        <p:scale>
          <a:sx n="74" d="100"/>
          <a:sy n="74" d="100"/>
        </p:scale>
        <p:origin x="404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7174BDC-EF27-46DE-B800-C567F2B03E68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D43DFAA4-611B-4CE4-9E63-809CF7EAAD2E}">
      <dgm:prSet phldrT="[Text]"/>
      <dgm:spPr/>
      <dgm:t>
        <a:bodyPr/>
        <a:lstStyle/>
        <a:p>
          <a:r>
            <a:rPr lang="de-DE" dirty="0"/>
            <a:t>Eingabe</a:t>
          </a:r>
        </a:p>
      </dgm:t>
    </dgm:pt>
    <dgm:pt modelId="{AD0614B1-52A1-4ED4-AC26-4A0163D576F6}" type="parTrans" cxnId="{43D4399E-13E9-48EB-A586-2DAE8C55BCDD}">
      <dgm:prSet/>
      <dgm:spPr/>
      <dgm:t>
        <a:bodyPr/>
        <a:lstStyle/>
        <a:p>
          <a:endParaRPr lang="de-DE"/>
        </a:p>
      </dgm:t>
    </dgm:pt>
    <dgm:pt modelId="{8B757F06-6712-4ACF-A300-9EC93E466BC3}" type="sibTrans" cxnId="{43D4399E-13E9-48EB-A586-2DAE8C55BCDD}">
      <dgm:prSet/>
      <dgm:spPr/>
      <dgm:t>
        <a:bodyPr/>
        <a:lstStyle/>
        <a:p>
          <a:endParaRPr lang="de-DE"/>
        </a:p>
      </dgm:t>
    </dgm:pt>
    <dgm:pt modelId="{F04701DA-3B91-470B-A555-4B26D2AE7C5B}">
      <dgm:prSet phldrT="[Text]"/>
      <dgm:spPr/>
      <dgm:t>
        <a:bodyPr/>
        <a:lstStyle/>
        <a:p>
          <a:r>
            <a:rPr lang="de-DE" dirty="0"/>
            <a:t>Internes Mapping</a:t>
          </a:r>
        </a:p>
      </dgm:t>
    </dgm:pt>
    <dgm:pt modelId="{C7D613F5-A955-4BEF-A064-9B575F6E0704}" type="parTrans" cxnId="{2668EFB5-6646-4980-88F9-EFA8E71D5ECE}">
      <dgm:prSet/>
      <dgm:spPr/>
      <dgm:t>
        <a:bodyPr/>
        <a:lstStyle/>
        <a:p>
          <a:endParaRPr lang="de-DE"/>
        </a:p>
      </dgm:t>
    </dgm:pt>
    <dgm:pt modelId="{4CF55DCA-DAC6-4CE0-A3BC-028B3B49A34E}" type="sibTrans" cxnId="{2668EFB5-6646-4980-88F9-EFA8E71D5ECE}">
      <dgm:prSet/>
      <dgm:spPr/>
      <dgm:t>
        <a:bodyPr/>
        <a:lstStyle/>
        <a:p>
          <a:endParaRPr lang="de-DE"/>
        </a:p>
      </dgm:t>
    </dgm:pt>
    <dgm:pt modelId="{E639E93D-0917-4077-AE25-8ED00F563C15}">
      <dgm:prSet phldrT="[Text]"/>
      <dgm:spPr/>
      <dgm:t>
        <a:bodyPr/>
        <a:lstStyle/>
        <a:p>
          <a:r>
            <a:rPr lang="de-DE" dirty="0"/>
            <a:t>Berechnung</a:t>
          </a:r>
        </a:p>
      </dgm:t>
    </dgm:pt>
    <dgm:pt modelId="{FC879771-9A91-4AF8-965A-03B79B80CC89}" type="parTrans" cxnId="{7B2B2C95-62AE-4F60-BE1C-F8E362CC3F0C}">
      <dgm:prSet/>
      <dgm:spPr/>
      <dgm:t>
        <a:bodyPr/>
        <a:lstStyle/>
        <a:p>
          <a:endParaRPr lang="de-DE"/>
        </a:p>
      </dgm:t>
    </dgm:pt>
    <dgm:pt modelId="{F8B8CCE0-E300-4DFA-8071-3B6A2CE61623}" type="sibTrans" cxnId="{7B2B2C95-62AE-4F60-BE1C-F8E362CC3F0C}">
      <dgm:prSet/>
      <dgm:spPr/>
      <dgm:t>
        <a:bodyPr/>
        <a:lstStyle/>
        <a:p>
          <a:endParaRPr lang="de-DE"/>
        </a:p>
      </dgm:t>
    </dgm:pt>
    <dgm:pt modelId="{9A41F7A5-F479-42C4-A6FC-6272D7772DB8}">
      <dgm:prSet phldrT="[Text]"/>
      <dgm:spPr/>
      <dgm:t>
        <a:bodyPr/>
        <a:lstStyle/>
        <a:p>
          <a:r>
            <a:rPr lang="de-DE" dirty="0"/>
            <a:t>Externes Mapping</a:t>
          </a:r>
        </a:p>
      </dgm:t>
    </dgm:pt>
    <dgm:pt modelId="{80633AF2-A15C-43E8-BB76-FB14DF4E482A}" type="parTrans" cxnId="{F94CC21B-3C88-4EC2-95D2-9A1DE7F6ED09}">
      <dgm:prSet/>
      <dgm:spPr/>
      <dgm:t>
        <a:bodyPr/>
        <a:lstStyle/>
        <a:p>
          <a:endParaRPr lang="de-DE"/>
        </a:p>
      </dgm:t>
    </dgm:pt>
    <dgm:pt modelId="{F6597141-3982-4709-BAE9-11147D07BDE1}" type="sibTrans" cxnId="{F94CC21B-3C88-4EC2-95D2-9A1DE7F6ED09}">
      <dgm:prSet/>
      <dgm:spPr/>
      <dgm:t>
        <a:bodyPr/>
        <a:lstStyle/>
        <a:p>
          <a:endParaRPr lang="de-DE"/>
        </a:p>
      </dgm:t>
    </dgm:pt>
    <dgm:pt modelId="{B79AE044-8280-4584-9031-C131D16B743C}">
      <dgm:prSet phldrT="[Text]"/>
      <dgm:spPr/>
      <dgm:t>
        <a:bodyPr/>
        <a:lstStyle/>
        <a:p>
          <a:r>
            <a:rPr lang="de-DE" dirty="0"/>
            <a:t>Ausgabe</a:t>
          </a:r>
        </a:p>
      </dgm:t>
    </dgm:pt>
    <dgm:pt modelId="{594FE68E-5842-44D4-AECC-EC066DE1989D}" type="parTrans" cxnId="{1F52B982-9623-45B5-A468-A5FC77E5BB4C}">
      <dgm:prSet/>
      <dgm:spPr/>
      <dgm:t>
        <a:bodyPr/>
        <a:lstStyle/>
        <a:p>
          <a:endParaRPr lang="de-DE"/>
        </a:p>
      </dgm:t>
    </dgm:pt>
    <dgm:pt modelId="{9DBEA0A3-662C-4E93-B61E-CC63AA3EB876}" type="sibTrans" cxnId="{1F52B982-9623-45B5-A468-A5FC77E5BB4C}">
      <dgm:prSet/>
      <dgm:spPr/>
      <dgm:t>
        <a:bodyPr/>
        <a:lstStyle/>
        <a:p>
          <a:endParaRPr lang="de-DE"/>
        </a:p>
      </dgm:t>
    </dgm:pt>
    <dgm:pt modelId="{4AD9AB2C-5862-46B3-96FB-9C01D22CBF79}" type="pres">
      <dgm:prSet presAssocID="{97174BDC-EF27-46DE-B800-C567F2B03E68}" presName="Name0" presStyleCnt="0">
        <dgm:presLayoutVars>
          <dgm:dir/>
          <dgm:animLvl val="lvl"/>
          <dgm:resizeHandles val="exact"/>
        </dgm:presLayoutVars>
      </dgm:prSet>
      <dgm:spPr/>
    </dgm:pt>
    <dgm:pt modelId="{AE0A9AE0-3CE0-40CF-B5FC-CF2569008F6F}" type="pres">
      <dgm:prSet presAssocID="{D43DFAA4-611B-4CE4-9E63-809CF7EAAD2E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537681E-5245-43ED-A2E3-722719F6F5B4}" type="pres">
      <dgm:prSet presAssocID="{8B757F06-6712-4ACF-A300-9EC93E466BC3}" presName="parTxOnlySpace" presStyleCnt="0"/>
      <dgm:spPr/>
    </dgm:pt>
    <dgm:pt modelId="{69053871-FF8A-4DFC-8E4C-01DDC6D0437A}" type="pres">
      <dgm:prSet presAssocID="{F04701DA-3B91-470B-A555-4B26D2AE7C5B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5C076B2-ED2F-4CD0-B28D-99F89EDAB47D}" type="pres">
      <dgm:prSet presAssocID="{4CF55DCA-DAC6-4CE0-A3BC-028B3B49A34E}" presName="parTxOnlySpace" presStyleCnt="0"/>
      <dgm:spPr/>
    </dgm:pt>
    <dgm:pt modelId="{23477B8D-8061-4500-A954-FF68AFE901E6}" type="pres">
      <dgm:prSet presAssocID="{E639E93D-0917-4077-AE25-8ED00F563C15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A0543B4-B845-41BC-BD69-FFF437B6C48A}" type="pres">
      <dgm:prSet presAssocID="{F8B8CCE0-E300-4DFA-8071-3B6A2CE61623}" presName="parTxOnlySpace" presStyleCnt="0"/>
      <dgm:spPr/>
    </dgm:pt>
    <dgm:pt modelId="{FC3AC65E-735E-4A7E-92EA-757D1CFCFBEF}" type="pres">
      <dgm:prSet presAssocID="{9A41F7A5-F479-42C4-A6FC-6272D7772DB8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C157F366-881D-45F8-BA32-64654BCBECDD}" type="pres">
      <dgm:prSet presAssocID="{F6597141-3982-4709-BAE9-11147D07BDE1}" presName="parTxOnlySpace" presStyleCnt="0"/>
      <dgm:spPr/>
    </dgm:pt>
    <dgm:pt modelId="{B1A6F42E-DBEE-40B1-8672-249F8C89556E}" type="pres">
      <dgm:prSet presAssocID="{B79AE044-8280-4584-9031-C131D16B743C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CEEC3BE3-C4BE-46FC-880B-120B81D22072}" type="presOf" srcId="{97174BDC-EF27-46DE-B800-C567F2B03E68}" destId="{4AD9AB2C-5862-46B3-96FB-9C01D22CBF79}" srcOrd="0" destOrd="0" presId="urn:microsoft.com/office/officeart/2005/8/layout/chevron1"/>
    <dgm:cxn modelId="{43D4399E-13E9-48EB-A586-2DAE8C55BCDD}" srcId="{97174BDC-EF27-46DE-B800-C567F2B03E68}" destId="{D43DFAA4-611B-4CE4-9E63-809CF7EAAD2E}" srcOrd="0" destOrd="0" parTransId="{AD0614B1-52A1-4ED4-AC26-4A0163D576F6}" sibTransId="{8B757F06-6712-4ACF-A300-9EC93E466BC3}"/>
    <dgm:cxn modelId="{1F52B982-9623-45B5-A468-A5FC77E5BB4C}" srcId="{97174BDC-EF27-46DE-B800-C567F2B03E68}" destId="{B79AE044-8280-4584-9031-C131D16B743C}" srcOrd="4" destOrd="0" parTransId="{594FE68E-5842-44D4-AECC-EC066DE1989D}" sibTransId="{9DBEA0A3-662C-4E93-B61E-CC63AA3EB876}"/>
    <dgm:cxn modelId="{F94CC21B-3C88-4EC2-95D2-9A1DE7F6ED09}" srcId="{97174BDC-EF27-46DE-B800-C567F2B03E68}" destId="{9A41F7A5-F479-42C4-A6FC-6272D7772DB8}" srcOrd="3" destOrd="0" parTransId="{80633AF2-A15C-43E8-BB76-FB14DF4E482A}" sibTransId="{F6597141-3982-4709-BAE9-11147D07BDE1}"/>
    <dgm:cxn modelId="{76D00331-B218-4EE5-823B-CBB2EC2FBCB6}" type="presOf" srcId="{F04701DA-3B91-470B-A555-4B26D2AE7C5B}" destId="{69053871-FF8A-4DFC-8E4C-01DDC6D0437A}" srcOrd="0" destOrd="0" presId="urn:microsoft.com/office/officeart/2005/8/layout/chevron1"/>
    <dgm:cxn modelId="{D0A91592-ADF6-4068-8F6B-836DC90AC0D4}" type="presOf" srcId="{9A41F7A5-F479-42C4-A6FC-6272D7772DB8}" destId="{FC3AC65E-735E-4A7E-92EA-757D1CFCFBEF}" srcOrd="0" destOrd="0" presId="urn:microsoft.com/office/officeart/2005/8/layout/chevron1"/>
    <dgm:cxn modelId="{6EF18AA8-6426-44A4-8979-A5DEA441AB78}" type="presOf" srcId="{D43DFAA4-611B-4CE4-9E63-809CF7EAAD2E}" destId="{AE0A9AE0-3CE0-40CF-B5FC-CF2569008F6F}" srcOrd="0" destOrd="0" presId="urn:microsoft.com/office/officeart/2005/8/layout/chevron1"/>
    <dgm:cxn modelId="{7B2B2C95-62AE-4F60-BE1C-F8E362CC3F0C}" srcId="{97174BDC-EF27-46DE-B800-C567F2B03E68}" destId="{E639E93D-0917-4077-AE25-8ED00F563C15}" srcOrd="2" destOrd="0" parTransId="{FC879771-9A91-4AF8-965A-03B79B80CC89}" sibTransId="{F8B8CCE0-E300-4DFA-8071-3B6A2CE61623}"/>
    <dgm:cxn modelId="{2668EFB5-6646-4980-88F9-EFA8E71D5ECE}" srcId="{97174BDC-EF27-46DE-B800-C567F2B03E68}" destId="{F04701DA-3B91-470B-A555-4B26D2AE7C5B}" srcOrd="1" destOrd="0" parTransId="{C7D613F5-A955-4BEF-A064-9B575F6E0704}" sibTransId="{4CF55DCA-DAC6-4CE0-A3BC-028B3B49A34E}"/>
    <dgm:cxn modelId="{5715D554-D548-4C81-A2E2-33757AEA052E}" type="presOf" srcId="{B79AE044-8280-4584-9031-C131D16B743C}" destId="{B1A6F42E-DBEE-40B1-8672-249F8C89556E}" srcOrd="0" destOrd="0" presId="urn:microsoft.com/office/officeart/2005/8/layout/chevron1"/>
    <dgm:cxn modelId="{F5BCF2B7-72E1-4949-8983-9979D05830BF}" type="presOf" srcId="{E639E93D-0917-4077-AE25-8ED00F563C15}" destId="{23477B8D-8061-4500-A954-FF68AFE901E6}" srcOrd="0" destOrd="0" presId="urn:microsoft.com/office/officeart/2005/8/layout/chevron1"/>
    <dgm:cxn modelId="{7685F683-DCDE-4DAA-B4D0-D7CFC3D75015}" type="presParOf" srcId="{4AD9AB2C-5862-46B3-96FB-9C01D22CBF79}" destId="{AE0A9AE0-3CE0-40CF-B5FC-CF2569008F6F}" srcOrd="0" destOrd="0" presId="urn:microsoft.com/office/officeart/2005/8/layout/chevron1"/>
    <dgm:cxn modelId="{50AAB0CD-37B5-4696-BF76-B7FA9D988E10}" type="presParOf" srcId="{4AD9AB2C-5862-46B3-96FB-9C01D22CBF79}" destId="{D537681E-5245-43ED-A2E3-722719F6F5B4}" srcOrd="1" destOrd="0" presId="urn:microsoft.com/office/officeart/2005/8/layout/chevron1"/>
    <dgm:cxn modelId="{5C444BEC-A468-4423-82A0-64EA14E9A779}" type="presParOf" srcId="{4AD9AB2C-5862-46B3-96FB-9C01D22CBF79}" destId="{69053871-FF8A-4DFC-8E4C-01DDC6D0437A}" srcOrd="2" destOrd="0" presId="urn:microsoft.com/office/officeart/2005/8/layout/chevron1"/>
    <dgm:cxn modelId="{0F3D2E1A-C432-4747-9B6C-D7EF9B7AFE4B}" type="presParOf" srcId="{4AD9AB2C-5862-46B3-96FB-9C01D22CBF79}" destId="{F5C076B2-ED2F-4CD0-B28D-99F89EDAB47D}" srcOrd="3" destOrd="0" presId="urn:microsoft.com/office/officeart/2005/8/layout/chevron1"/>
    <dgm:cxn modelId="{619B970E-906F-4028-A397-86606248B196}" type="presParOf" srcId="{4AD9AB2C-5862-46B3-96FB-9C01D22CBF79}" destId="{23477B8D-8061-4500-A954-FF68AFE901E6}" srcOrd="4" destOrd="0" presId="urn:microsoft.com/office/officeart/2005/8/layout/chevron1"/>
    <dgm:cxn modelId="{BE1A4688-C157-460D-9303-CF2DA37DF384}" type="presParOf" srcId="{4AD9AB2C-5862-46B3-96FB-9C01D22CBF79}" destId="{6A0543B4-B845-41BC-BD69-FFF437B6C48A}" srcOrd="5" destOrd="0" presId="urn:microsoft.com/office/officeart/2005/8/layout/chevron1"/>
    <dgm:cxn modelId="{E45A8CDA-55E5-4340-B336-C11D5BEAD2DE}" type="presParOf" srcId="{4AD9AB2C-5862-46B3-96FB-9C01D22CBF79}" destId="{FC3AC65E-735E-4A7E-92EA-757D1CFCFBEF}" srcOrd="6" destOrd="0" presId="urn:microsoft.com/office/officeart/2005/8/layout/chevron1"/>
    <dgm:cxn modelId="{A1231E58-8848-487A-ADDA-613C13B2ED45}" type="presParOf" srcId="{4AD9AB2C-5862-46B3-96FB-9C01D22CBF79}" destId="{C157F366-881D-45F8-BA32-64654BCBECDD}" srcOrd="7" destOrd="0" presId="urn:microsoft.com/office/officeart/2005/8/layout/chevron1"/>
    <dgm:cxn modelId="{46B19CFB-2D8D-4E3F-BD05-51FE5679D466}" type="presParOf" srcId="{4AD9AB2C-5862-46B3-96FB-9C01D22CBF79}" destId="{B1A6F42E-DBEE-40B1-8672-249F8C89556E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7174BDC-EF27-46DE-B800-C567F2B03E68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D43DFAA4-611B-4CE4-9E63-809CF7EAAD2E}">
      <dgm:prSet phldrT="[Text]"/>
      <dgm:spPr/>
      <dgm:t>
        <a:bodyPr/>
        <a:lstStyle/>
        <a:p>
          <a:r>
            <a:rPr lang="de-DE" dirty="0"/>
            <a:t>MVP</a:t>
          </a:r>
        </a:p>
      </dgm:t>
    </dgm:pt>
    <dgm:pt modelId="{AD0614B1-52A1-4ED4-AC26-4A0163D576F6}" type="parTrans" cxnId="{43D4399E-13E9-48EB-A586-2DAE8C55BCDD}">
      <dgm:prSet/>
      <dgm:spPr/>
      <dgm:t>
        <a:bodyPr/>
        <a:lstStyle/>
        <a:p>
          <a:endParaRPr lang="de-DE"/>
        </a:p>
      </dgm:t>
    </dgm:pt>
    <dgm:pt modelId="{8B757F06-6712-4ACF-A300-9EC93E466BC3}" type="sibTrans" cxnId="{43D4399E-13E9-48EB-A586-2DAE8C55BCDD}">
      <dgm:prSet/>
      <dgm:spPr/>
      <dgm:t>
        <a:bodyPr/>
        <a:lstStyle/>
        <a:p>
          <a:endParaRPr lang="de-DE"/>
        </a:p>
      </dgm:t>
    </dgm:pt>
    <dgm:pt modelId="{4AD9AB2C-5862-46B3-96FB-9C01D22CBF79}" type="pres">
      <dgm:prSet presAssocID="{97174BDC-EF27-46DE-B800-C567F2B03E68}" presName="Name0" presStyleCnt="0">
        <dgm:presLayoutVars>
          <dgm:dir/>
          <dgm:animLvl val="lvl"/>
          <dgm:resizeHandles val="exact"/>
        </dgm:presLayoutVars>
      </dgm:prSet>
      <dgm:spPr/>
    </dgm:pt>
    <dgm:pt modelId="{AE0A9AE0-3CE0-40CF-B5FC-CF2569008F6F}" type="pres">
      <dgm:prSet presAssocID="{D43DFAA4-611B-4CE4-9E63-809CF7EAAD2E}" presName="parTxOnly" presStyleLbl="node1" presStyleIdx="0" presStyleCnt="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CEEC3BE3-C4BE-46FC-880B-120B81D22072}" type="presOf" srcId="{97174BDC-EF27-46DE-B800-C567F2B03E68}" destId="{4AD9AB2C-5862-46B3-96FB-9C01D22CBF79}" srcOrd="0" destOrd="0" presId="urn:microsoft.com/office/officeart/2005/8/layout/chevron1"/>
    <dgm:cxn modelId="{43D4399E-13E9-48EB-A586-2DAE8C55BCDD}" srcId="{97174BDC-EF27-46DE-B800-C567F2B03E68}" destId="{D43DFAA4-611B-4CE4-9E63-809CF7EAAD2E}" srcOrd="0" destOrd="0" parTransId="{AD0614B1-52A1-4ED4-AC26-4A0163D576F6}" sibTransId="{8B757F06-6712-4ACF-A300-9EC93E466BC3}"/>
    <dgm:cxn modelId="{6EF18AA8-6426-44A4-8979-A5DEA441AB78}" type="presOf" srcId="{D43DFAA4-611B-4CE4-9E63-809CF7EAAD2E}" destId="{AE0A9AE0-3CE0-40CF-B5FC-CF2569008F6F}" srcOrd="0" destOrd="0" presId="urn:microsoft.com/office/officeart/2005/8/layout/chevron1"/>
    <dgm:cxn modelId="{7685F683-DCDE-4DAA-B4D0-D7CFC3D75015}" type="presParOf" srcId="{4AD9AB2C-5862-46B3-96FB-9C01D22CBF79}" destId="{AE0A9AE0-3CE0-40CF-B5FC-CF2569008F6F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0A9AE0-3CE0-40CF-B5FC-CF2569008F6F}">
      <dsp:nvSpPr>
        <dsp:cNvPr id="0" name=""/>
        <dsp:cNvSpPr/>
      </dsp:nvSpPr>
      <dsp:spPr>
        <a:xfrm>
          <a:off x="2794" y="836156"/>
          <a:ext cx="2487480" cy="99499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/>
            <a:t>Eingabe</a:t>
          </a:r>
        </a:p>
      </dsp:txBody>
      <dsp:txXfrm>
        <a:off x="500290" y="836156"/>
        <a:ext cx="1492488" cy="994992"/>
      </dsp:txXfrm>
    </dsp:sp>
    <dsp:sp modelId="{69053871-FF8A-4DFC-8E4C-01DDC6D0437A}">
      <dsp:nvSpPr>
        <dsp:cNvPr id="0" name=""/>
        <dsp:cNvSpPr/>
      </dsp:nvSpPr>
      <dsp:spPr>
        <a:xfrm>
          <a:off x="2241527" y="836156"/>
          <a:ext cx="2487480" cy="99499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/>
            <a:t>Internes Mapping</a:t>
          </a:r>
        </a:p>
      </dsp:txBody>
      <dsp:txXfrm>
        <a:off x="2739023" y="836156"/>
        <a:ext cx="1492488" cy="994992"/>
      </dsp:txXfrm>
    </dsp:sp>
    <dsp:sp modelId="{23477B8D-8061-4500-A954-FF68AFE901E6}">
      <dsp:nvSpPr>
        <dsp:cNvPr id="0" name=""/>
        <dsp:cNvSpPr/>
      </dsp:nvSpPr>
      <dsp:spPr>
        <a:xfrm>
          <a:off x="4480259" y="836156"/>
          <a:ext cx="2487480" cy="99499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/>
            <a:t>Berechnung</a:t>
          </a:r>
        </a:p>
      </dsp:txBody>
      <dsp:txXfrm>
        <a:off x="4977755" y="836156"/>
        <a:ext cx="1492488" cy="994992"/>
      </dsp:txXfrm>
    </dsp:sp>
    <dsp:sp modelId="{FC3AC65E-735E-4A7E-92EA-757D1CFCFBEF}">
      <dsp:nvSpPr>
        <dsp:cNvPr id="0" name=""/>
        <dsp:cNvSpPr/>
      </dsp:nvSpPr>
      <dsp:spPr>
        <a:xfrm>
          <a:off x="6718992" y="836156"/>
          <a:ext cx="2487480" cy="99499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/>
            <a:t>Externes Mapping</a:t>
          </a:r>
        </a:p>
      </dsp:txBody>
      <dsp:txXfrm>
        <a:off x="7216488" y="836156"/>
        <a:ext cx="1492488" cy="994992"/>
      </dsp:txXfrm>
    </dsp:sp>
    <dsp:sp modelId="{B1A6F42E-DBEE-40B1-8672-249F8C89556E}">
      <dsp:nvSpPr>
        <dsp:cNvPr id="0" name=""/>
        <dsp:cNvSpPr/>
      </dsp:nvSpPr>
      <dsp:spPr>
        <a:xfrm>
          <a:off x="8957724" y="836156"/>
          <a:ext cx="2487480" cy="99499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/>
            <a:t>Ausgabe</a:t>
          </a:r>
        </a:p>
      </dsp:txBody>
      <dsp:txXfrm>
        <a:off x="9455220" y="836156"/>
        <a:ext cx="1492488" cy="9949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0A9AE0-3CE0-40CF-B5FC-CF2569008F6F}">
      <dsp:nvSpPr>
        <dsp:cNvPr id="0" name=""/>
        <dsp:cNvSpPr/>
      </dsp:nvSpPr>
      <dsp:spPr>
        <a:xfrm>
          <a:off x="0" y="606258"/>
          <a:ext cx="3636968" cy="145478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0033" tIns="86678" rIns="86678" bIns="86678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6500" kern="1200" dirty="0"/>
            <a:t>MVP</a:t>
          </a:r>
        </a:p>
      </dsp:txBody>
      <dsp:txXfrm>
        <a:off x="727394" y="606258"/>
        <a:ext cx="2182181" cy="145478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3377698" y="9511964"/>
            <a:ext cx="2945659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fld id="{EA9B4304-6324-4DC4-89E7-6289AD412E80}" type="slidenum">
              <a:rPr lang="de-DE" sz="1000" smtClean="0"/>
              <a:t>‹Nr.›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8721CD0-71A4-4586-BB8C-AA85283C2F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754199" y="429459"/>
            <a:ext cx="579695" cy="209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770487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127" userDrawn="1">
          <p15:clr>
            <a:srgbClr val="F26B43"/>
          </p15:clr>
        </p15:guide>
        <p15:guide id="2" pos="3986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22275" y="4777958"/>
            <a:ext cx="5953126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8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5883113" y="9511964"/>
            <a:ext cx="440244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fld id="{EA9B4304-6324-4DC4-89E7-6289AD412E80}" type="slidenum">
              <a:rPr lang="de-DE" sz="1000" smtClean="0"/>
              <a:t>‹Nr.›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8721CD0-71A4-4586-BB8C-AA85283C2F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754199" y="429459"/>
            <a:ext cx="579695" cy="209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0130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200"/>
      </a:spcBef>
      <a:defRPr sz="1100" b="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600"/>
      </a:spcBef>
      <a:buClr>
        <a:schemeClr val="tx1"/>
      </a:buClr>
      <a:buFont typeface="Arial" panose="020B0604020202020204" pitchFamily="34" charset="0"/>
      <a:buChar char="•"/>
      <a:defRPr sz="1100" b="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400"/>
      </a:spcBef>
      <a:buClr>
        <a:schemeClr val="tx1"/>
      </a:buClr>
      <a:buFont typeface="Symbol" panose="05050102010706020507" pitchFamily="18" charset="2"/>
      <a:buChar char="-"/>
      <a:defRPr sz="1100" b="0" kern="1200">
        <a:solidFill>
          <a:schemeClr val="tx1"/>
        </a:solidFill>
        <a:latin typeface="+mn-lt"/>
        <a:ea typeface="+mn-ea"/>
        <a:cs typeface="+mn-cs"/>
      </a:defRPr>
    </a:lvl3pPr>
    <a:lvl4pPr marL="360000" indent="-180000" algn="l" defTabSz="914400" rtl="0" eaLnBrk="1" latinLnBrk="0" hangingPunct="1">
      <a:spcBef>
        <a:spcPts val="400"/>
      </a:spcBef>
      <a:buClr>
        <a:schemeClr val="tx1"/>
      </a:buClr>
      <a:buFont typeface="Symbol" panose="05050102010706020507" pitchFamily="18" charset="2"/>
      <a:buChar char="-"/>
      <a:defRPr sz="1100" b="0" kern="1200">
        <a:solidFill>
          <a:schemeClr val="tx1"/>
        </a:solidFill>
        <a:latin typeface="+mn-lt"/>
        <a:ea typeface="+mn-ea"/>
        <a:cs typeface="+mn-cs"/>
      </a:defRPr>
    </a:lvl4pPr>
    <a:lvl5pPr marL="360000" indent="-180000" algn="l" defTabSz="914400" rtl="0" eaLnBrk="1" latinLnBrk="0" hangingPunct="1">
      <a:spcBef>
        <a:spcPts val="400"/>
      </a:spcBef>
      <a:buClr>
        <a:schemeClr val="tx1"/>
      </a:buClr>
      <a:buFont typeface="Symbol" panose="05050102010706020507" pitchFamily="18" charset="2"/>
      <a:buChar char="-"/>
      <a:defRPr sz="1100" b="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3586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EINFACHES DIAGRAMM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80677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40395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55256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57863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90306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85020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95811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507337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62607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88989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30508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30508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7223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80677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16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de-DE" sz="3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12192000" cy="5708650"/>
          </a:xfrm>
          <a:solidFill>
            <a:schemeClr val="accent6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algn="ctr">
              <a:spcBef>
                <a:spcPts val="0"/>
              </a:spcBef>
              <a:defRPr b="0"/>
            </a:lvl1pPr>
            <a:lvl2pPr algn="ctr">
              <a:defRPr/>
            </a:lvl2pPr>
          </a:lstStyle>
          <a:p>
            <a:pPr lvl="0"/>
            <a:r>
              <a:rPr lang="de-DE" dirty="0"/>
              <a:t>Um ein Hintergrundbild einzufügen, markieren Sie bitte den Platzhalter und wählen ein Bild über den Reiter „Einfügen“, „Bilder“ aus.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 bwMode="gray">
          <a:xfrm flipH="1">
            <a:off x="371476" y="1412876"/>
            <a:ext cx="11820525" cy="4356385"/>
          </a:xfrm>
          <a:custGeom>
            <a:avLst/>
            <a:gdLst>
              <a:gd name="connsiteX0" fmla="*/ 11324953 w 11820525"/>
              <a:gd name="connsiteY0" fmla="*/ 0 h 4356385"/>
              <a:gd name="connsiteX1" fmla="*/ 0 w 11820525"/>
              <a:gd name="connsiteY1" fmla="*/ 0 h 4356385"/>
              <a:gd name="connsiteX2" fmla="*/ 0 w 11820525"/>
              <a:gd name="connsiteY2" fmla="*/ 4356385 h 4356385"/>
              <a:gd name="connsiteX3" fmla="*/ 11820525 w 11820525"/>
              <a:gd name="connsiteY3" fmla="*/ 4356385 h 4356385"/>
              <a:gd name="connsiteX4" fmla="*/ 11820525 w 11820525"/>
              <a:gd name="connsiteY4" fmla="*/ 495572 h 4356385"/>
              <a:gd name="connsiteX5" fmla="*/ 11324953 w 11820525"/>
              <a:gd name="connsiteY5" fmla="*/ 0 h 4356385"/>
              <a:gd name="connsiteX0" fmla="*/ 0 w 11820525"/>
              <a:gd name="connsiteY0" fmla="*/ 4356385 h 4447825"/>
              <a:gd name="connsiteX1" fmla="*/ 11820525 w 11820525"/>
              <a:gd name="connsiteY1" fmla="*/ 4356385 h 4447825"/>
              <a:gd name="connsiteX2" fmla="*/ 11820525 w 11820525"/>
              <a:gd name="connsiteY2" fmla="*/ 495572 h 4447825"/>
              <a:gd name="connsiteX3" fmla="*/ 11324953 w 11820525"/>
              <a:gd name="connsiteY3" fmla="*/ 0 h 4447825"/>
              <a:gd name="connsiteX4" fmla="*/ 0 w 11820525"/>
              <a:gd name="connsiteY4" fmla="*/ 0 h 4447825"/>
              <a:gd name="connsiteX5" fmla="*/ 91440 w 11820525"/>
              <a:gd name="connsiteY5" fmla="*/ 4447825 h 4447825"/>
              <a:gd name="connsiteX0" fmla="*/ 0 w 11820525"/>
              <a:gd name="connsiteY0" fmla="*/ 4356385 h 4356385"/>
              <a:gd name="connsiteX1" fmla="*/ 11820525 w 11820525"/>
              <a:gd name="connsiteY1" fmla="*/ 4356385 h 4356385"/>
              <a:gd name="connsiteX2" fmla="*/ 11820525 w 11820525"/>
              <a:gd name="connsiteY2" fmla="*/ 495572 h 4356385"/>
              <a:gd name="connsiteX3" fmla="*/ 11324953 w 11820525"/>
              <a:gd name="connsiteY3" fmla="*/ 0 h 4356385"/>
              <a:gd name="connsiteX4" fmla="*/ 0 w 11820525"/>
              <a:gd name="connsiteY4" fmla="*/ 0 h 4356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20525" h="4356385">
                <a:moveTo>
                  <a:pt x="0" y="4356385"/>
                </a:moveTo>
                <a:lnTo>
                  <a:pt x="11820525" y="4356385"/>
                </a:lnTo>
                <a:lnTo>
                  <a:pt x="11820525" y="495572"/>
                </a:lnTo>
                <a:cubicBezTo>
                  <a:pt x="11820525" y="221875"/>
                  <a:pt x="11598650" y="0"/>
                  <a:pt x="11324953" y="0"/>
                </a:cubicBezTo>
                <a:lnTo>
                  <a:pt x="0" y="0"/>
                </a:lnTo>
              </a:path>
            </a:pathLst>
          </a:custGeom>
          <a:solidFill>
            <a:schemeClr val="bg1">
              <a:alpha val="80000"/>
            </a:schemeClr>
          </a:solidFill>
          <a:ln w="50800">
            <a:solidFill>
              <a:schemeClr val="accent2"/>
            </a:solidFill>
          </a:ln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983432" y="2481282"/>
            <a:ext cx="10837092" cy="492443"/>
          </a:xfrm>
        </p:spPr>
        <p:txBody>
          <a:bodyPr anchor="b"/>
          <a:lstStyle>
            <a:lvl1pPr algn="l">
              <a:spcBef>
                <a:spcPts val="0"/>
              </a:spcBef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983432" y="3143001"/>
            <a:ext cx="10837092" cy="36933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GB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83432" y="5115437"/>
            <a:ext cx="10837093" cy="215444"/>
          </a:xfrm>
        </p:spPr>
        <p:txBody>
          <a:bodyPr anchor="b"/>
          <a:lstStyle>
            <a:lvl1pPr>
              <a:spcBef>
                <a:spcPts val="0"/>
              </a:spcBef>
              <a:defRPr sz="14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Datum  |  Ort  |  Vortragender</a:t>
            </a:r>
          </a:p>
        </p:txBody>
      </p:sp>
      <p:sp>
        <p:nvSpPr>
          <p:cNvPr id="25" name="Textplatzhalter 19"/>
          <p:cNvSpPr>
            <a:spLocks noGrp="1"/>
          </p:cNvSpPr>
          <p:nvPr>
            <p:ph type="body" sz="quarter" idx="13" hasCustomPrompt="1"/>
          </p:nvPr>
        </p:nvSpPr>
        <p:spPr bwMode="gray">
          <a:xfrm flipH="1">
            <a:off x="12000" y="5708649"/>
            <a:ext cx="12168000" cy="144000"/>
          </a:xfrm>
          <a:prstGeom prst="rect">
            <a:avLst/>
          </a:prstGeom>
          <a:solidFill>
            <a:schemeClr val="bg1"/>
          </a:solidFill>
          <a:ln w="50800">
            <a:noFill/>
          </a:ln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 txBox="1">
            <a:spLocks/>
          </p:cNvSpPr>
          <p:nvPr userDrawn="1"/>
        </p:nvSpPr>
        <p:spPr>
          <a:xfrm>
            <a:off x="10229324" y="6019286"/>
            <a:ext cx="1590675" cy="528638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00" kern="1200">
                <a:noFill/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 </a:t>
            </a:r>
            <a:endParaRPr lang="de-DE" dirty="0"/>
          </a:p>
        </p:txBody>
      </p:sp>
      <p:sp>
        <p:nvSpPr>
          <p:cNvPr id="11" name="Druckrahmen">
            <a:extLst>
              <a:ext uri="{FF2B5EF4-FFF2-40B4-BE49-F238E27FC236}">
                <a16:creationId xmlns:a16="http://schemas.microsoft.com/office/drawing/2014/main" id="{65A633F5-6A14-482B-B7C3-EA41A071536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3417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0" y="1124744"/>
            <a:ext cx="12192000" cy="5733257"/>
          </a:xfrm>
          <a:solidFill>
            <a:schemeClr val="accent6"/>
          </a:solidFill>
          <a:ln>
            <a:noFill/>
          </a:ln>
        </p:spPr>
        <p:txBody>
          <a:bodyPr vert="horz" wrap="square" lIns="72000" tIns="72000" rIns="72000" bIns="72000" rtlCol="0">
            <a:noAutofit/>
          </a:bodyPr>
          <a:lstStyle>
            <a:lvl1pPr>
              <a:spcBef>
                <a:spcPts val="0"/>
              </a:spcBef>
              <a:defRPr lang="de-DE" b="0"/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7516762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mit 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8421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2000" cy="6858001"/>
          </a:xfrm>
          <a:solidFill>
            <a:schemeClr val="accent6"/>
          </a:solidFill>
          <a:ln>
            <a:noFill/>
          </a:ln>
        </p:spPr>
        <p:txBody>
          <a:bodyPr vert="horz" wrap="square" lIns="72000" tIns="72000" rIns="72000" bIns="72000" rtlCol="0">
            <a:noAutofit/>
          </a:bodyPr>
          <a:lstStyle>
            <a:lvl1pPr>
              <a:spcBef>
                <a:spcPts val="0"/>
              </a:spcBef>
              <a:defRPr lang="de-DE" b="0" dirty="0"/>
            </a:lvl1pPr>
          </a:lstStyle>
          <a:p>
            <a:pPr lvl="0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 bwMode="gray">
          <a:xfrm>
            <a:off x="8543925" y="5308044"/>
            <a:ext cx="3276600" cy="1073706"/>
          </a:xfrm>
          <a:prstGeom prst="roundRect">
            <a:avLst>
              <a:gd name="adj" fmla="val 17712"/>
            </a:avLst>
          </a:prstGeom>
          <a:solidFill>
            <a:schemeClr val="accent1"/>
          </a:solidFill>
        </p:spPr>
        <p:txBody>
          <a:bodyPr lIns="144000" tIns="108000" rIns="144000" bIns="108000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" name="Textplatzhalter 4">
            <a:extLst>
              <a:ext uri="{FF2B5EF4-FFF2-40B4-BE49-F238E27FC236}">
                <a16:creationId xmlns:a16="http://schemas.microsoft.com/office/drawing/2014/main" id="{ED5E4F3E-A1C6-427C-B1CE-8C924C72156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1775520" y="3574030"/>
            <a:ext cx="3276600" cy="1143687"/>
          </a:xfrm>
          <a:prstGeom prst="roundRect">
            <a:avLst>
              <a:gd name="adj" fmla="val 17712"/>
            </a:avLst>
          </a:prstGeom>
          <a:solidFill>
            <a:srgbClr val="FFFFFF">
              <a:alpha val="80000"/>
            </a:srgbClr>
          </a:solidFill>
        </p:spPr>
        <p:txBody>
          <a:bodyPr lIns="144000" tIns="108000" rIns="144000" bIns="108000" anchor="ctr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832537" y="255600"/>
            <a:ext cx="982663" cy="323850"/>
          </a:xfrm>
          <a:blipFill>
            <a:blip r:embed="rId6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209833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514B224-5848-41E4-83E8-3646E3C858CD}" type="datetime1">
              <a:rPr lang="de-DE" smtClean="0"/>
              <a:t>16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/>
          <a:p>
            <a:r>
              <a:rPr lang="de-DE" noProof="0" dirty="0"/>
              <a:t>|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noProof="0" dirty="0"/>
          </a:p>
        </p:txBody>
      </p:sp>
      <p:sp>
        <p:nvSpPr>
          <p:cNvPr id="7" name="Textplatzhalter 12">
            <a:extLst>
              <a:ext uri="{FF2B5EF4-FFF2-40B4-BE49-F238E27FC236}">
                <a16:creationId xmlns:a16="http://schemas.microsoft.com/office/drawing/2014/main" id="{581B0A0A-9E83-4AFD-B2F0-18899753CD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0800" y="6243251"/>
            <a:ext cx="11448000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</p:spTree>
    <p:extLst>
      <p:ext uri="{BB962C8B-B14F-4D97-AF65-F5344CB8AC3E}">
        <p14:creationId xmlns:p14="http://schemas.microsoft.com/office/powerpoint/2010/main" val="21209341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reativ dunkel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grayWhite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4956EC5-7C62-4377-BC2B-AC7237B5C885}" type="datetime1">
              <a:rPr lang="de-DE" smtClean="0"/>
              <a:t>16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>
          <a:xfrm>
            <a:off x="1007529" y="6502042"/>
            <a:ext cx="9763309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|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4F42BA-C6E3-4D5B-99FA-36163155CEA7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platzhalter 12">
            <a:extLst>
              <a:ext uri="{FF2B5EF4-FFF2-40B4-BE49-F238E27FC236}">
                <a16:creationId xmlns:a16="http://schemas.microsoft.com/office/drawing/2014/main" id="{6042C6C9-EDBE-4F92-9D0F-F97D1EA3EF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0800" y="6243251"/>
            <a:ext cx="11443256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10832537" y="255600"/>
            <a:ext cx="982663" cy="32385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Druckrahmen">
            <a:extLst>
              <a:ext uri="{FF2B5EF4-FFF2-40B4-BE49-F238E27FC236}">
                <a16:creationId xmlns:a16="http://schemas.microsoft.com/office/drawing/2014/main" id="{FDCB3BE5-C7F8-40B2-9A8A-7EB47690077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4656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reativ hell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C75EAC1-B2EA-4787-9039-A0C7FA5C39AA}" type="datetime1">
              <a:rPr lang="de-DE" smtClean="0"/>
              <a:t>16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>
          <a:xfrm>
            <a:off x="1007529" y="6502042"/>
            <a:ext cx="9763309" cy="1384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B4F42BA-C6E3-4D5B-99FA-36163155CEA7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platzhalter 12">
            <a:extLst>
              <a:ext uri="{FF2B5EF4-FFF2-40B4-BE49-F238E27FC236}">
                <a16:creationId xmlns:a16="http://schemas.microsoft.com/office/drawing/2014/main" id="{6042C6C9-EDBE-4F92-9D0F-F97D1EA3EF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0800" y="6243251"/>
            <a:ext cx="11443256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832537" y="255600"/>
            <a:ext cx="982663" cy="32385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Druckrahmen">
            <a:extLst>
              <a:ext uri="{FF2B5EF4-FFF2-40B4-BE49-F238E27FC236}">
                <a16:creationId xmlns:a16="http://schemas.microsoft.com/office/drawing/2014/main" id="{49E70B88-D04B-42BC-893F-9AA3B0842B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4210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reativ dunkel mit Spot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2A0302BA-813F-4F16-BF85-B004EF341B9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25000">
                <a:schemeClr val="accent4"/>
              </a:gs>
              <a:gs pos="83000">
                <a:schemeClr val="accent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BDF7B2-AE09-4CB1-ADA1-5437FBFCAD44}" type="datetime1">
              <a:rPr lang="de-DE" smtClean="0"/>
              <a:t>16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4F42BA-C6E3-4D5B-99FA-36163155CEA7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platzhalter 12">
            <a:extLst>
              <a:ext uri="{FF2B5EF4-FFF2-40B4-BE49-F238E27FC236}">
                <a16:creationId xmlns:a16="http://schemas.microsoft.com/office/drawing/2014/main" id="{6042C6C9-EDBE-4F92-9D0F-F97D1EA3EF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0800" y="6243251"/>
            <a:ext cx="11443256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832537" y="255600"/>
            <a:ext cx="982663" cy="32385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Druckrahmen">
            <a:extLst>
              <a:ext uri="{FF2B5EF4-FFF2-40B4-BE49-F238E27FC236}">
                <a16:creationId xmlns:a16="http://schemas.microsoft.com/office/drawing/2014/main" id="{D3750765-EBFB-4AD4-B760-B0FF6039CFD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37614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zit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899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de-DE" sz="54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black">
          <a:xfrm>
            <a:off x="983432" y="4018956"/>
            <a:ext cx="10837092" cy="830997"/>
          </a:xfrm>
        </p:spPr>
        <p:txBody>
          <a:bodyPr anchor="b"/>
          <a:lstStyle>
            <a:lvl1pPr algn="l">
              <a:spcBef>
                <a:spcPts val="0"/>
              </a:spcBef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ake </a:t>
            </a:r>
            <a:r>
              <a:rPr lang="de-DE" dirty="0" err="1"/>
              <a:t>away</a:t>
            </a:r>
            <a:r>
              <a:rPr lang="de-DE" dirty="0"/>
              <a:t> </a:t>
            </a:r>
            <a:r>
              <a:rPr lang="de-DE" dirty="0" err="1"/>
              <a:t>message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983432" y="5019229"/>
            <a:ext cx="10837092" cy="55399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6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Vielen Dank </a:t>
            </a:r>
            <a:endParaRPr lang="en-GB" dirty="0"/>
          </a:p>
        </p:txBody>
      </p:sp>
      <p:sp>
        <p:nvSpPr>
          <p:cNvPr id="11" name="Eine Ecke des Rechtecks abrunden 13"/>
          <p:cNvSpPr/>
          <p:nvPr userDrawn="1"/>
        </p:nvSpPr>
        <p:spPr bwMode="gray">
          <a:xfrm flipH="1">
            <a:off x="384174" y="1422400"/>
            <a:ext cx="11807821" cy="4286556"/>
          </a:xfrm>
          <a:custGeom>
            <a:avLst/>
            <a:gdLst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  <a:gd name="connsiteX4" fmla="*/ 0 w 11807821"/>
              <a:gd name="connsiteY4" fmla="*/ 4286556 h 4286556"/>
              <a:gd name="connsiteX5" fmla="*/ 0 w 11807821"/>
              <a:gd name="connsiteY5" fmla="*/ 0 h 4286556"/>
              <a:gd name="connsiteX0" fmla="*/ 0 w 11807821"/>
              <a:gd name="connsiteY0" fmla="*/ 4286556 h 4377996"/>
              <a:gd name="connsiteX1" fmla="*/ 0 w 11807821"/>
              <a:gd name="connsiteY1" fmla="*/ 0 h 4377996"/>
              <a:gd name="connsiteX2" fmla="*/ 11350060 w 11807821"/>
              <a:gd name="connsiteY2" fmla="*/ 0 h 4377996"/>
              <a:gd name="connsiteX3" fmla="*/ 11807821 w 11807821"/>
              <a:gd name="connsiteY3" fmla="*/ 457761 h 4377996"/>
              <a:gd name="connsiteX4" fmla="*/ 11807821 w 11807821"/>
              <a:gd name="connsiteY4" fmla="*/ 4286556 h 4377996"/>
              <a:gd name="connsiteX5" fmla="*/ 91440 w 11807821"/>
              <a:gd name="connsiteY5" fmla="*/ 4377996 h 4377996"/>
              <a:gd name="connsiteX0" fmla="*/ 0 w 11807821"/>
              <a:gd name="connsiteY0" fmla="*/ 0 h 4377996"/>
              <a:gd name="connsiteX1" fmla="*/ 11350060 w 11807821"/>
              <a:gd name="connsiteY1" fmla="*/ 0 h 4377996"/>
              <a:gd name="connsiteX2" fmla="*/ 11807821 w 11807821"/>
              <a:gd name="connsiteY2" fmla="*/ 457761 h 4377996"/>
              <a:gd name="connsiteX3" fmla="*/ 11807821 w 11807821"/>
              <a:gd name="connsiteY3" fmla="*/ 4286556 h 4377996"/>
              <a:gd name="connsiteX4" fmla="*/ 91440 w 11807821"/>
              <a:gd name="connsiteY4" fmla="*/ 4377996 h 4377996"/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1" h="4286556">
                <a:moveTo>
                  <a:pt x="0" y="0"/>
                </a:moveTo>
                <a:lnTo>
                  <a:pt x="11350060" y="0"/>
                </a:lnTo>
                <a:cubicBezTo>
                  <a:pt x="11602874" y="0"/>
                  <a:pt x="11807821" y="204947"/>
                  <a:pt x="11807821" y="457761"/>
                </a:cubicBezTo>
                <a:lnTo>
                  <a:pt x="11807821" y="4286556"/>
                </a:lnTo>
              </a:path>
            </a:pathLst>
          </a:cu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kern="0">
              <a:solidFill>
                <a:prstClr val="white"/>
              </a:solidFill>
              <a:latin typeface="Arial" panose="020B0604020202020204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A33C794-CA00-4CB7-864D-3BEBCDA04D2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234958" y="400371"/>
            <a:ext cx="1573627" cy="521729"/>
          </a:xfrm>
          <a:prstGeom prst="rect">
            <a:avLst/>
          </a:prstGeom>
        </p:spPr>
      </p:pic>
      <p:cxnSp>
        <p:nvCxnSpPr>
          <p:cNvPr id="9" name="Gerader Verbinder 8"/>
          <p:cNvCxnSpPr/>
          <p:nvPr userDrawn="1"/>
        </p:nvCxnSpPr>
        <p:spPr bwMode="gray">
          <a:xfrm>
            <a:off x="384174" y="5203895"/>
            <a:ext cx="0" cy="1654105"/>
          </a:xfrm>
          <a:prstGeom prst="line">
            <a:avLst/>
          </a:pr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ruckrahmen">
            <a:extLst>
              <a:ext uri="{FF2B5EF4-FFF2-40B4-BE49-F238E27FC236}">
                <a16:creationId xmlns:a16="http://schemas.microsoft.com/office/drawing/2014/main" id="{6DE40ADF-7729-4934-A1F7-56D93800937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4539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White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0" y="5708955"/>
            <a:ext cx="12191995" cy="1149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Eine Ecke des Rechtecks abrunden 13"/>
          <p:cNvSpPr/>
          <p:nvPr userDrawn="1"/>
        </p:nvSpPr>
        <p:spPr bwMode="gray">
          <a:xfrm flipH="1">
            <a:off x="384174" y="1422400"/>
            <a:ext cx="11807821" cy="4286556"/>
          </a:xfrm>
          <a:custGeom>
            <a:avLst/>
            <a:gdLst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  <a:gd name="connsiteX4" fmla="*/ 0 w 11807821"/>
              <a:gd name="connsiteY4" fmla="*/ 4286556 h 4286556"/>
              <a:gd name="connsiteX5" fmla="*/ 0 w 11807821"/>
              <a:gd name="connsiteY5" fmla="*/ 0 h 4286556"/>
              <a:gd name="connsiteX0" fmla="*/ 0 w 11807821"/>
              <a:gd name="connsiteY0" fmla="*/ 4286556 h 4377996"/>
              <a:gd name="connsiteX1" fmla="*/ 0 w 11807821"/>
              <a:gd name="connsiteY1" fmla="*/ 0 h 4377996"/>
              <a:gd name="connsiteX2" fmla="*/ 11350060 w 11807821"/>
              <a:gd name="connsiteY2" fmla="*/ 0 h 4377996"/>
              <a:gd name="connsiteX3" fmla="*/ 11807821 w 11807821"/>
              <a:gd name="connsiteY3" fmla="*/ 457761 h 4377996"/>
              <a:gd name="connsiteX4" fmla="*/ 11807821 w 11807821"/>
              <a:gd name="connsiteY4" fmla="*/ 4286556 h 4377996"/>
              <a:gd name="connsiteX5" fmla="*/ 91440 w 11807821"/>
              <a:gd name="connsiteY5" fmla="*/ 4377996 h 4377996"/>
              <a:gd name="connsiteX0" fmla="*/ 0 w 11807821"/>
              <a:gd name="connsiteY0" fmla="*/ 0 h 4377996"/>
              <a:gd name="connsiteX1" fmla="*/ 11350060 w 11807821"/>
              <a:gd name="connsiteY1" fmla="*/ 0 h 4377996"/>
              <a:gd name="connsiteX2" fmla="*/ 11807821 w 11807821"/>
              <a:gd name="connsiteY2" fmla="*/ 457761 h 4377996"/>
              <a:gd name="connsiteX3" fmla="*/ 11807821 w 11807821"/>
              <a:gd name="connsiteY3" fmla="*/ 4286556 h 4377996"/>
              <a:gd name="connsiteX4" fmla="*/ 91440 w 11807821"/>
              <a:gd name="connsiteY4" fmla="*/ 4377996 h 4377996"/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1" h="4286556">
                <a:moveTo>
                  <a:pt x="0" y="0"/>
                </a:moveTo>
                <a:lnTo>
                  <a:pt x="11350060" y="0"/>
                </a:lnTo>
                <a:cubicBezTo>
                  <a:pt x="11602874" y="0"/>
                  <a:pt x="11807821" y="204947"/>
                  <a:pt x="11807821" y="457761"/>
                </a:cubicBezTo>
                <a:lnTo>
                  <a:pt x="11807821" y="4286556"/>
                </a:lnTo>
              </a:path>
            </a:pathLst>
          </a:cu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kern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4" name="Titel 1"/>
          <p:cNvSpPr txBox="1">
            <a:spLocks/>
          </p:cNvSpPr>
          <p:nvPr userDrawn="1"/>
        </p:nvSpPr>
        <p:spPr bwMode="gray">
          <a:xfrm>
            <a:off x="983432" y="1988840"/>
            <a:ext cx="10837092" cy="984885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de-DE" dirty="0"/>
              <a:t>Unser Antrieb: </a:t>
            </a:r>
            <a:br>
              <a:rPr lang="de-DE" dirty="0"/>
            </a:br>
            <a:r>
              <a:rPr lang="de-DE" dirty="0"/>
              <a:t>In der Gemeinschaft Werte schützen. </a:t>
            </a:r>
          </a:p>
        </p:txBody>
      </p:sp>
      <p:sp>
        <p:nvSpPr>
          <p:cNvPr id="9" name="Textplatzhalter 19"/>
          <p:cNvSpPr txBox="1">
            <a:spLocks/>
          </p:cNvSpPr>
          <p:nvPr userDrawn="1"/>
        </p:nvSpPr>
        <p:spPr bwMode="gray">
          <a:xfrm>
            <a:off x="10229324" y="6018724"/>
            <a:ext cx="1591200" cy="5292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50800">
            <a:noFill/>
          </a:ln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1</a:t>
            </a:r>
            <a:endParaRPr lang="de-DE" dirty="0"/>
          </a:p>
        </p:txBody>
      </p:sp>
      <p:sp>
        <p:nvSpPr>
          <p:cNvPr id="8" name="Druckrahmen">
            <a:extLst>
              <a:ext uri="{FF2B5EF4-FFF2-40B4-BE49-F238E27FC236}">
                <a16:creationId xmlns:a16="http://schemas.microsoft.com/office/drawing/2014/main" id="{07A3AEBD-F634-4BC4-A1B7-40DC399BBBE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1543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hne Bild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8514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de-DE" sz="3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hteck 3"/>
          <p:cNvSpPr/>
          <p:nvPr userDrawn="1"/>
        </p:nvSpPr>
        <p:spPr bwMode="grayWhite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0" y="5708955"/>
            <a:ext cx="12191995" cy="1149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auto">
          <a:xfrm>
            <a:off x="983432" y="2481282"/>
            <a:ext cx="10837092" cy="492443"/>
          </a:xfrm>
        </p:spPr>
        <p:txBody>
          <a:bodyPr anchor="b"/>
          <a:lstStyle>
            <a:lvl1pPr algn="l">
              <a:spcBef>
                <a:spcPts val="0"/>
              </a:spcBef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auto">
          <a:xfrm>
            <a:off x="983432" y="3143001"/>
            <a:ext cx="10837092" cy="36933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GB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983432" y="5115437"/>
            <a:ext cx="10837093" cy="215444"/>
          </a:xfrm>
        </p:spPr>
        <p:txBody>
          <a:bodyPr anchor="b"/>
          <a:lstStyle>
            <a:lvl1pPr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Datum  |  Ort  |  Vortragender</a:t>
            </a:r>
          </a:p>
        </p:txBody>
      </p:sp>
      <p:sp>
        <p:nvSpPr>
          <p:cNvPr id="11" name="Eine Ecke des Rechtecks abrunden 13"/>
          <p:cNvSpPr/>
          <p:nvPr userDrawn="1"/>
        </p:nvSpPr>
        <p:spPr bwMode="gray">
          <a:xfrm flipH="1">
            <a:off x="384174" y="1422400"/>
            <a:ext cx="11807821" cy="4286556"/>
          </a:xfrm>
          <a:custGeom>
            <a:avLst/>
            <a:gdLst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  <a:gd name="connsiteX4" fmla="*/ 0 w 11807821"/>
              <a:gd name="connsiteY4" fmla="*/ 4286556 h 4286556"/>
              <a:gd name="connsiteX5" fmla="*/ 0 w 11807821"/>
              <a:gd name="connsiteY5" fmla="*/ 0 h 4286556"/>
              <a:gd name="connsiteX0" fmla="*/ 0 w 11807821"/>
              <a:gd name="connsiteY0" fmla="*/ 4286556 h 4377996"/>
              <a:gd name="connsiteX1" fmla="*/ 0 w 11807821"/>
              <a:gd name="connsiteY1" fmla="*/ 0 h 4377996"/>
              <a:gd name="connsiteX2" fmla="*/ 11350060 w 11807821"/>
              <a:gd name="connsiteY2" fmla="*/ 0 h 4377996"/>
              <a:gd name="connsiteX3" fmla="*/ 11807821 w 11807821"/>
              <a:gd name="connsiteY3" fmla="*/ 457761 h 4377996"/>
              <a:gd name="connsiteX4" fmla="*/ 11807821 w 11807821"/>
              <a:gd name="connsiteY4" fmla="*/ 4286556 h 4377996"/>
              <a:gd name="connsiteX5" fmla="*/ 91440 w 11807821"/>
              <a:gd name="connsiteY5" fmla="*/ 4377996 h 4377996"/>
              <a:gd name="connsiteX0" fmla="*/ 0 w 11807821"/>
              <a:gd name="connsiteY0" fmla="*/ 0 h 4377996"/>
              <a:gd name="connsiteX1" fmla="*/ 11350060 w 11807821"/>
              <a:gd name="connsiteY1" fmla="*/ 0 h 4377996"/>
              <a:gd name="connsiteX2" fmla="*/ 11807821 w 11807821"/>
              <a:gd name="connsiteY2" fmla="*/ 457761 h 4377996"/>
              <a:gd name="connsiteX3" fmla="*/ 11807821 w 11807821"/>
              <a:gd name="connsiteY3" fmla="*/ 4286556 h 4377996"/>
              <a:gd name="connsiteX4" fmla="*/ 91440 w 11807821"/>
              <a:gd name="connsiteY4" fmla="*/ 4377996 h 4377996"/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1" h="4286556">
                <a:moveTo>
                  <a:pt x="0" y="0"/>
                </a:moveTo>
                <a:lnTo>
                  <a:pt x="11350060" y="0"/>
                </a:lnTo>
                <a:cubicBezTo>
                  <a:pt x="11602874" y="0"/>
                  <a:pt x="11807821" y="204947"/>
                  <a:pt x="11807821" y="457761"/>
                </a:cubicBezTo>
                <a:lnTo>
                  <a:pt x="11807821" y="4286556"/>
                </a:lnTo>
              </a:path>
            </a:pathLst>
          </a:cu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kern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 txBox="1">
            <a:spLocks/>
          </p:cNvSpPr>
          <p:nvPr userDrawn="1"/>
        </p:nvSpPr>
        <p:spPr>
          <a:xfrm>
            <a:off x="10229324" y="6019286"/>
            <a:ext cx="1590675" cy="528638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00" kern="1200">
                <a:noFill/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 </a:t>
            </a:r>
            <a:endParaRPr lang="de-DE" dirty="0"/>
          </a:p>
        </p:txBody>
      </p:sp>
      <p:sp>
        <p:nvSpPr>
          <p:cNvPr id="15" name="Druckrahmen">
            <a:extLst>
              <a:ext uri="{FF2B5EF4-FFF2-40B4-BE49-F238E27FC236}">
                <a16:creationId xmlns:a16="http://schemas.microsoft.com/office/drawing/2014/main" id="{039B24DE-6500-48F7-845F-83E3198759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4142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074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endParaRPr lang="de-DE" sz="3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hteck 7"/>
          <p:cNvSpPr/>
          <p:nvPr userDrawn="1"/>
        </p:nvSpPr>
        <p:spPr bwMode="white">
          <a:xfrm>
            <a:off x="0" y="0"/>
            <a:ext cx="12192000" cy="62372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Eine Ecke des Rechtecks abrunden 13"/>
          <p:cNvSpPr/>
          <p:nvPr userDrawn="1"/>
        </p:nvSpPr>
        <p:spPr bwMode="gray">
          <a:xfrm flipH="1">
            <a:off x="384174" y="836711"/>
            <a:ext cx="11807821" cy="4286556"/>
          </a:xfrm>
          <a:custGeom>
            <a:avLst/>
            <a:gdLst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  <a:gd name="connsiteX4" fmla="*/ 0 w 11807821"/>
              <a:gd name="connsiteY4" fmla="*/ 4286556 h 4286556"/>
              <a:gd name="connsiteX5" fmla="*/ 0 w 11807821"/>
              <a:gd name="connsiteY5" fmla="*/ 0 h 4286556"/>
              <a:gd name="connsiteX0" fmla="*/ 0 w 11807821"/>
              <a:gd name="connsiteY0" fmla="*/ 4286556 h 4377996"/>
              <a:gd name="connsiteX1" fmla="*/ 0 w 11807821"/>
              <a:gd name="connsiteY1" fmla="*/ 0 h 4377996"/>
              <a:gd name="connsiteX2" fmla="*/ 11350060 w 11807821"/>
              <a:gd name="connsiteY2" fmla="*/ 0 h 4377996"/>
              <a:gd name="connsiteX3" fmla="*/ 11807821 w 11807821"/>
              <a:gd name="connsiteY3" fmla="*/ 457761 h 4377996"/>
              <a:gd name="connsiteX4" fmla="*/ 11807821 w 11807821"/>
              <a:gd name="connsiteY4" fmla="*/ 4286556 h 4377996"/>
              <a:gd name="connsiteX5" fmla="*/ 91440 w 11807821"/>
              <a:gd name="connsiteY5" fmla="*/ 4377996 h 4377996"/>
              <a:gd name="connsiteX0" fmla="*/ 0 w 11807821"/>
              <a:gd name="connsiteY0" fmla="*/ 0 h 4377996"/>
              <a:gd name="connsiteX1" fmla="*/ 11350060 w 11807821"/>
              <a:gd name="connsiteY1" fmla="*/ 0 h 4377996"/>
              <a:gd name="connsiteX2" fmla="*/ 11807821 w 11807821"/>
              <a:gd name="connsiteY2" fmla="*/ 457761 h 4377996"/>
              <a:gd name="connsiteX3" fmla="*/ 11807821 w 11807821"/>
              <a:gd name="connsiteY3" fmla="*/ 4286556 h 4377996"/>
              <a:gd name="connsiteX4" fmla="*/ 91440 w 11807821"/>
              <a:gd name="connsiteY4" fmla="*/ 4377996 h 4377996"/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1" h="4286556">
                <a:moveTo>
                  <a:pt x="0" y="0"/>
                </a:moveTo>
                <a:lnTo>
                  <a:pt x="11350060" y="0"/>
                </a:lnTo>
                <a:cubicBezTo>
                  <a:pt x="11602874" y="0"/>
                  <a:pt x="11807821" y="204947"/>
                  <a:pt x="11807821" y="457761"/>
                </a:cubicBezTo>
                <a:lnTo>
                  <a:pt x="11807821" y="4286556"/>
                </a:lnTo>
              </a:path>
            </a:pathLst>
          </a:cu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kern="0">
              <a:solidFill>
                <a:prstClr val="white"/>
              </a:solidFill>
              <a:latin typeface="Arial" panose="020B0604020202020204"/>
            </a:endParaRPr>
          </a:p>
        </p:txBody>
      </p:sp>
      <p:cxnSp>
        <p:nvCxnSpPr>
          <p:cNvPr id="10" name="Gerader Verbinder 9"/>
          <p:cNvCxnSpPr/>
          <p:nvPr userDrawn="1"/>
        </p:nvCxnSpPr>
        <p:spPr bwMode="gray">
          <a:xfrm>
            <a:off x="384174" y="5123267"/>
            <a:ext cx="0" cy="1114021"/>
          </a:xfrm>
          <a:prstGeom prst="line">
            <a:avLst/>
          </a:pr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 12"/>
          <p:cNvSpPr/>
          <p:nvPr userDrawn="1"/>
        </p:nvSpPr>
        <p:spPr bwMode="gray">
          <a:xfrm>
            <a:off x="0" y="6237287"/>
            <a:ext cx="12191995" cy="62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C8721CD0-71A4-4586-BB8C-AA85283C2FC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54634" y="6354152"/>
            <a:ext cx="983586" cy="324000"/>
          </a:xfrm>
          <a:prstGeom prst="rect">
            <a:avLst/>
          </a:prstGeom>
        </p:spPr>
      </p:pic>
      <p:sp>
        <p:nvSpPr>
          <p:cNvPr id="12" name="Druckrahmen">
            <a:extLst>
              <a:ext uri="{FF2B5EF4-FFF2-40B4-BE49-F238E27FC236}">
                <a16:creationId xmlns:a16="http://schemas.microsoft.com/office/drawing/2014/main" id="{D8267DB3-8AFE-443C-B334-7F78988201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916758" y="1316377"/>
            <a:ext cx="10080000" cy="492443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52388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/>
          <p:cNvSpPr/>
          <p:nvPr userDrawn="1"/>
        </p:nvSpPr>
        <p:spPr bwMode="white">
          <a:xfrm>
            <a:off x="0" y="1"/>
            <a:ext cx="12192000" cy="357301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Eine Ecke des Rechtecks abrunden 13"/>
          <p:cNvSpPr/>
          <p:nvPr userDrawn="1"/>
        </p:nvSpPr>
        <p:spPr bwMode="gray">
          <a:xfrm flipH="1">
            <a:off x="384174" y="836711"/>
            <a:ext cx="11807821" cy="4286556"/>
          </a:xfrm>
          <a:custGeom>
            <a:avLst/>
            <a:gdLst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  <a:gd name="connsiteX4" fmla="*/ 0 w 11807821"/>
              <a:gd name="connsiteY4" fmla="*/ 4286556 h 4286556"/>
              <a:gd name="connsiteX5" fmla="*/ 0 w 11807821"/>
              <a:gd name="connsiteY5" fmla="*/ 0 h 4286556"/>
              <a:gd name="connsiteX0" fmla="*/ 0 w 11807821"/>
              <a:gd name="connsiteY0" fmla="*/ 4286556 h 4377996"/>
              <a:gd name="connsiteX1" fmla="*/ 0 w 11807821"/>
              <a:gd name="connsiteY1" fmla="*/ 0 h 4377996"/>
              <a:gd name="connsiteX2" fmla="*/ 11350060 w 11807821"/>
              <a:gd name="connsiteY2" fmla="*/ 0 h 4377996"/>
              <a:gd name="connsiteX3" fmla="*/ 11807821 w 11807821"/>
              <a:gd name="connsiteY3" fmla="*/ 457761 h 4377996"/>
              <a:gd name="connsiteX4" fmla="*/ 11807821 w 11807821"/>
              <a:gd name="connsiteY4" fmla="*/ 4286556 h 4377996"/>
              <a:gd name="connsiteX5" fmla="*/ 91440 w 11807821"/>
              <a:gd name="connsiteY5" fmla="*/ 4377996 h 4377996"/>
              <a:gd name="connsiteX0" fmla="*/ 0 w 11807821"/>
              <a:gd name="connsiteY0" fmla="*/ 0 h 4377996"/>
              <a:gd name="connsiteX1" fmla="*/ 11350060 w 11807821"/>
              <a:gd name="connsiteY1" fmla="*/ 0 h 4377996"/>
              <a:gd name="connsiteX2" fmla="*/ 11807821 w 11807821"/>
              <a:gd name="connsiteY2" fmla="*/ 457761 h 4377996"/>
              <a:gd name="connsiteX3" fmla="*/ 11807821 w 11807821"/>
              <a:gd name="connsiteY3" fmla="*/ 4286556 h 4377996"/>
              <a:gd name="connsiteX4" fmla="*/ 91440 w 11807821"/>
              <a:gd name="connsiteY4" fmla="*/ 4377996 h 4377996"/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1" h="4286556">
                <a:moveTo>
                  <a:pt x="0" y="0"/>
                </a:moveTo>
                <a:lnTo>
                  <a:pt x="11350060" y="0"/>
                </a:lnTo>
                <a:cubicBezTo>
                  <a:pt x="11602874" y="0"/>
                  <a:pt x="11807821" y="204947"/>
                  <a:pt x="11807821" y="457761"/>
                </a:cubicBezTo>
                <a:lnTo>
                  <a:pt x="11807821" y="4286556"/>
                </a:lnTo>
              </a:path>
            </a:pathLst>
          </a:cu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</a:pPr>
            <a:endParaRPr lang="en-GB" kern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2" name="Rechteck 1"/>
          <p:cNvSpPr/>
          <p:nvPr userDrawn="1"/>
        </p:nvSpPr>
        <p:spPr bwMode="gray">
          <a:xfrm>
            <a:off x="1" y="3573016"/>
            <a:ext cx="12191999" cy="32849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1065316" y="917716"/>
            <a:ext cx="3712555" cy="3339376"/>
          </a:xfrm>
        </p:spPr>
        <p:txBody>
          <a:bodyPr wrap="none" anchor="b"/>
          <a:lstStyle>
            <a:lvl1pPr>
              <a:spcBef>
                <a:spcPts val="0"/>
              </a:spcBef>
              <a:defRPr sz="21700" b="0">
                <a:solidFill>
                  <a:schemeClr val="bg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X</a:t>
            </a:r>
          </a:p>
        </p:txBody>
      </p:sp>
      <p:sp>
        <p:nvSpPr>
          <p:cNvPr id="27" name="Textplatzhalt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203328" y="4130207"/>
            <a:ext cx="10634892" cy="615553"/>
          </a:xfrm>
        </p:spPr>
        <p:txBody>
          <a:bodyPr anchor="t"/>
          <a:lstStyle>
            <a:lvl1pPr>
              <a:spcBef>
                <a:spcPts val="0"/>
              </a:spcBef>
              <a:defRPr sz="4000" b="1">
                <a:solidFill>
                  <a:schemeClr val="accent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latzhalter Kapitelname</a:t>
            </a:r>
          </a:p>
        </p:txBody>
      </p:sp>
      <p:sp>
        <p:nvSpPr>
          <p:cNvPr id="9" name="Textplatzhalter 19"/>
          <p:cNvSpPr txBox="1">
            <a:spLocks noChangeAspect="1"/>
          </p:cNvSpPr>
          <p:nvPr userDrawn="1"/>
        </p:nvSpPr>
        <p:spPr bwMode="gray">
          <a:xfrm>
            <a:off x="10864016" y="6354152"/>
            <a:ext cx="974204" cy="324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50800">
            <a:noFill/>
          </a:ln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1</a:t>
            </a:r>
            <a:endParaRPr lang="de-DE" dirty="0"/>
          </a:p>
        </p:txBody>
      </p:sp>
      <p:sp>
        <p:nvSpPr>
          <p:cNvPr id="11" name="Druckrahmen">
            <a:extLst>
              <a:ext uri="{FF2B5EF4-FFF2-40B4-BE49-F238E27FC236}">
                <a16:creationId xmlns:a16="http://schemas.microsoft.com/office/drawing/2014/main" id="{5B6CB28B-F266-4BFF-A587-37CF3DF2C6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5019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4582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3573463"/>
          </a:xfrm>
          <a:solidFill>
            <a:schemeClr val="accent6"/>
          </a:solidFill>
          <a:ln>
            <a:noFill/>
          </a:ln>
        </p:spPr>
        <p:txBody>
          <a:bodyPr vert="horz" wrap="square" lIns="72000" tIns="72000" rIns="72000" bIns="72000" rtlCol="0">
            <a:noAutofit/>
          </a:bodyPr>
          <a:lstStyle>
            <a:lvl1pPr algn="ctr">
              <a:spcBef>
                <a:spcPts val="0"/>
              </a:spcBef>
              <a:defRPr lang="de-DE" b="0"/>
            </a:lvl1pPr>
          </a:lstStyle>
          <a:p>
            <a:pPr lvl="0"/>
            <a:r>
              <a:rPr lang="de-DE" dirty="0"/>
              <a:t>Um ein Hintergrundbild einzufügen, markieren Sie bitte den Platzhalter und wählen ein Bild über den Reiter „Einfügen“, „Bilder“ aus.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 bwMode="gray">
          <a:xfrm flipH="1">
            <a:off x="384174" y="836712"/>
            <a:ext cx="11807826" cy="2736751"/>
          </a:xfrm>
          <a:custGeom>
            <a:avLst/>
            <a:gdLst>
              <a:gd name="connsiteX0" fmla="*/ 11350361 w 11807826"/>
              <a:gd name="connsiteY0" fmla="*/ 0 h 2736751"/>
              <a:gd name="connsiteX1" fmla="*/ 0 w 11807826"/>
              <a:gd name="connsiteY1" fmla="*/ 0 h 2736751"/>
              <a:gd name="connsiteX2" fmla="*/ 0 w 11807826"/>
              <a:gd name="connsiteY2" fmla="*/ 2736751 h 2736751"/>
              <a:gd name="connsiteX3" fmla="*/ 11807826 w 11807826"/>
              <a:gd name="connsiteY3" fmla="*/ 2736751 h 2736751"/>
              <a:gd name="connsiteX4" fmla="*/ 11807826 w 11807826"/>
              <a:gd name="connsiteY4" fmla="*/ 457465 h 2736751"/>
              <a:gd name="connsiteX5" fmla="*/ 11350361 w 11807826"/>
              <a:gd name="connsiteY5" fmla="*/ 0 h 2736751"/>
              <a:gd name="connsiteX0" fmla="*/ 0 w 11807826"/>
              <a:gd name="connsiteY0" fmla="*/ 2736751 h 2828191"/>
              <a:gd name="connsiteX1" fmla="*/ 11807826 w 11807826"/>
              <a:gd name="connsiteY1" fmla="*/ 2736751 h 2828191"/>
              <a:gd name="connsiteX2" fmla="*/ 11807826 w 11807826"/>
              <a:gd name="connsiteY2" fmla="*/ 457465 h 2828191"/>
              <a:gd name="connsiteX3" fmla="*/ 11350361 w 11807826"/>
              <a:gd name="connsiteY3" fmla="*/ 0 h 2828191"/>
              <a:gd name="connsiteX4" fmla="*/ 0 w 11807826"/>
              <a:gd name="connsiteY4" fmla="*/ 0 h 2828191"/>
              <a:gd name="connsiteX5" fmla="*/ 91440 w 11807826"/>
              <a:gd name="connsiteY5" fmla="*/ 2828191 h 2828191"/>
              <a:gd name="connsiteX0" fmla="*/ 0 w 11807826"/>
              <a:gd name="connsiteY0" fmla="*/ 2736751 h 2736751"/>
              <a:gd name="connsiteX1" fmla="*/ 11807826 w 11807826"/>
              <a:gd name="connsiteY1" fmla="*/ 2736751 h 2736751"/>
              <a:gd name="connsiteX2" fmla="*/ 11807826 w 11807826"/>
              <a:gd name="connsiteY2" fmla="*/ 457465 h 2736751"/>
              <a:gd name="connsiteX3" fmla="*/ 11350361 w 11807826"/>
              <a:gd name="connsiteY3" fmla="*/ 0 h 2736751"/>
              <a:gd name="connsiteX4" fmla="*/ 0 w 11807826"/>
              <a:gd name="connsiteY4" fmla="*/ 0 h 2736751"/>
              <a:gd name="connsiteX0" fmla="*/ 11807826 w 11807826"/>
              <a:gd name="connsiteY0" fmla="*/ 2736751 h 2736751"/>
              <a:gd name="connsiteX1" fmla="*/ 11807826 w 11807826"/>
              <a:gd name="connsiteY1" fmla="*/ 457465 h 2736751"/>
              <a:gd name="connsiteX2" fmla="*/ 11350361 w 11807826"/>
              <a:gd name="connsiteY2" fmla="*/ 0 h 2736751"/>
              <a:gd name="connsiteX3" fmla="*/ 0 w 11807826"/>
              <a:gd name="connsiteY3" fmla="*/ 0 h 2736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6" h="2736751">
                <a:moveTo>
                  <a:pt x="11807826" y="2736751"/>
                </a:moveTo>
                <a:lnTo>
                  <a:pt x="11807826" y="457465"/>
                </a:lnTo>
                <a:cubicBezTo>
                  <a:pt x="11807826" y="204814"/>
                  <a:pt x="11603012" y="0"/>
                  <a:pt x="11350361" y="0"/>
                </a:cubicBezTo>
                <a:lnTo>
                  <a:pt x="0" y="0"/>
                </a:lnTo>
              </a:path>
            </a:pathLst>
          </a:custGeom>
          <a:noFill/>
          <a:ln w="50800">
            <a:solidFill>
              <a:schemeClr val="accent2"/>
            </a:solidFill>
          </a:ln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100">
                <a:noFill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7" name="Textplatzhalt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203328" y="4130207"/>
            <a:ext cx="10634892" cy="615553"/>
          </a:xfrm>
        </p:spPr>
        <p:txBody>
          <a:bodyPr anchor="t"/>
          <a:lstStyle>
            <a:lvl1pPr>
              <a:spcBef>
                <a:spcPts val="0"/>
              </a:spcBef>
              <a:defRPr sz="4000" b="1">
                <a:solidFill>
                  <a:schemeClr val="accent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latzhalter Kapitelname</a:t>
            </a:r>
          </a:p>
        </p:txBody>
      </p:sp>
      <p:sp>
        <p:nvSpPr>
          <p:cNvPr id="21" name="Textplatzhalter 19"/>
          <p:cNvSpPr txBox="1">
            <a:spLocks noChangeAspect="1"/>
          </p:cNvSpPr>
          <p:nvPr userDrawn="1"/>
        </p:nvSpPr>
        <p:spPr bwMode="gray">
          <a:xfrm>
            <a:off x="10864016" y="6354152"/>
            <a:ext cx="974204" cy="324000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 w="50800">
            <a:noFill/>
          </a:ln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1</a:t>
            </a:r>
            <a:endParaRPr lang="de-DE" dirty="0"/>
          </a:p>
        </p:txBody>
      </p:sp>
      <p:sp>
        <p:nvSpPr>
          <p:cNvPr id="10" name="Druckrahmen">
            <a:extLst>
              <a:ext uri="{FF2B5EF4-FFF2-40B4-BE49-F238E27FC236}">
                <a16:creationId xmlns:a16="http://schemas.microsoft.com/office/drawing/2014/main" id="{CE89793A-E11E-434B-8861-A2A24AD5DEC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65316" y="917716"/>
            <a:ext cx="3712555" cy="3339376"/>
          </a:xfrm>
        </p:spPr>
        <p:txBody>
          <a:bodyPr wrap="none" anchor="b"/>
          <a:lstStyle>
            <a:lvl1pPr>
              <a:spcBef>
                <a:spcPts val="0"/>
              </a:spcBef>
              <a:defRPr sz="21700" b="0">
                <a:solidFill>
                  <a:schemeClr val="bg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26882594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4825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de-DE" sz="20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4ED33ED-86EF-43E0-BBFC-3F79D10AF08C}" type="datetime1">
              <a:rPr lang="de-DE" smtClean="0"/>
              <a:t>16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/>
          <a:p>
            <a:r>
              <a:rPr lang="de-DE" noProof="0" dirty="0"/>
              <a:t>| 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noProof="0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CF983353-820A-4CD3-A0FB-236A47D3B7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30777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564FB014-998F-476A-83AB-02F0B66F646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0800" y="6243251"/>
            <a:ext cx="11448000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EF2028D-AA01-41AA-83F1-6EDF51E76A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1487587"/>
          </a:xfrm>
        </p:spPr>
        <p:txBody>
          <a:bodyPr wrap="square">
            <a:sp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49628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FA40309-AA06-43DE-A277-059A46DC32ED}" type="datetime1">
              <a:rPr lang="de-DE" smtClean="0"/>
              <a:t>16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/>
          <a:p>
            <a:r>
              <a:rPr lang="de-DE" noProof="0" dirty="0"/>
              <a:t>|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noProof="0" dirty="0"/>
          </a:p>
        </p:txBody>
      </p:sp>
      <p:sp>
        <p:nvSpPr>
          <p:cNvPr id="9" name="Textplatzhalter 12">
            <a:extLst>
              <a:ext uri="{FF2B5EF4-FFF2-40B4-BE49-F238E27FC236}">
                <a16:creationId xmlns:a16="http://schemas.microsoft.com/office/drawing/2014/main" id="{8A0F6248-1825-462D-863E-8FD0BC73844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7267" y="6243251"/>
            <a:ext cx="11443256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1C7044B-AD00-4A0B-987D-10AB2AA2F76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1475" y="1412875"/>
            <a:ext cx="5580063" cy="1487587"/>
          </a:xfrm>
        </p:spPr>
        <p:txBody>
          <a:bodyPr>
            <a:sp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BB8307F-641C-4703-A3B0-18C3E7348C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40463" y="1412875"/>
            <a:ext cx="5580062" cy="1487587"/>
          </a:xfrm>
        </p:spPr>
        <p:txBody>
          <a:bodyPr>
            <a:sp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169348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2E208CA-E75F-4040-B41E-9BAD50EA4F3B}" type="datetime1">
              <a:rPr lang="de-DE" smtClean="0"/>
              <a:t>16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/>
          <a:p>
            <a:r>
              <a:rPr lang="de-DE" noProof="0" dirty="0"/>
              <a:t>|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6240463" y="1412875"/>
            <a:ext cx="5580062" cy="4968875"/>
          </a:xfrm>
          <a:solidFill>
            <a:schemeClr val="accent6"/>
          </a:solidFill>
          <a:ln>
            <a:noFill/>
          </a:ln>
        </p:spPr>
        <p:txBody>
          <a:bodyPr vert="horz" wrap="square" lIns="72000" tIns="72000" rIns="72000" bIns="72000" rtlCol="0">
            <a:noAutofit/>
          </a:bodyPr>
          <a:lstStyle>
            <a:lvl1pPr>
              <a:spcBef>
                <a:spcPts val="0"/>
              </a:spcBef>
              <a:defRPr lang="de-DE" b="0"/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  <p:sp>
        <p:nvSpPr>
          <p:cNvPr id="10" name="Textplatzhalter 12">
            <a:extLst>
              <a:ext uri="{FF2B5EF4-FFF2-40B4-BE49-F238E27FC236}">
                <a16:creationId xmlns:a16="http://schemas.microsoft.com/office/drawing/2014/main" id="{83746111-9B9D-49B3-A1EF-B4C01FF8FE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7267" y="6243251"/>
            <a:ext cx="5580000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43BB3F5-6099-4B61-A589-05E6B105DF2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1475" y="1412875"/>
            <a:ext cx="5580063" cy="1487587"/>
          </a:xfrm>
        </p:spPr>
        <p:txBody>
          <a:bodyPr>
            <a:sp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902871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7091A67-CCD8-478F-8AFD-2777D0E4A009}" type="datetime1">
              <a:rPr lang="de-DE" smtClean="0"/>
              <a:t>16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/>
          <a:p>
            <a:r>
              <a:rPr lang="de-DE" noProof="0" dirty="0"/>
              <a:t>|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371475" y="1412875"/>
            <a:ext cx="5580062" cy="4968875"/>
          </a:xfrm>
          <a:solidFill>
            <a:schemeClr val="accent6"/>
          </a:solidFill>
          <a:ln>
            <a:noFill/>
          </a:ln>
        </p:spPr>
        <p:txBody>
          <a:bodyPr vert="horz" wrap="square" lIns="72000" tIns="72000" rIns="72000" bIns="72000" rtlCol="0">
            <a:noAutofit/>
          </a:bodyPr>
          <a:lstStyle>
            <a:lvl1pPr>
              <a:spcBef>
                <a:spcPts val="0"/>
              </a:spcBef>
              <a:defRPr lang="de-DE" b="0"/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B2FAEEE-6E6C-4B9F-8C30-3829B70342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Textplatzhalter 12">
            <a:extLst>
              <a:ext uri="{FF2B5EF4-FFF2-40B4-BE49-F238E27FC236}">
                <a16:creationId xmlns:a16="http://schemas.microsoft.com/office/drawing/2014/main" id="{83746111-9B9D-49B3-A1EF-B4C01FF8FE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525" y="6243251"/>
            <a:ext cx="5580000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A7BF9EE-19E1-44B8-BB1F-181B404128B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40463" y="1412875"/>
            <a:ext cx="5580062" cy="1487587"/>
          </a:xfrm>
        </p:spPr>
        <p:txBody>
          <a:bodyPr>
            <a:sp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728697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Headlinebalken"/>
          <p:cNvSpPr/>
          <p:nvPr/>
        </p:nvSpPr>
        <p:spPr bwMode="gray">
          <a:xfrm>
            <a:off x="0" y="1"/>
            <a:ext cx="12192000" cy="11247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1475" y="230898"/>
            <a:ext cx="10080000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48" cy="14875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371475" y="6502042"/>
            <a:ext cx="60960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E522EC6F-1043-42A9-B89A-8627A45F02AF}" type="datetime1">
              <a:rPr lang="de-DE" smtClean="0"/>
              <a:t>16.07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007529" y="6502042"/>
            <a:ext cx="9763309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DE"/>
              <a:t>|  Lukas Kondziella | Prüfungsnummer: 142-1867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58524" y="6502042"/>
            <a:ext cx="761999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ruckrahmen">
            <a:extLst>
              <a:ext uri="{FF2B5EF4-FFF2-40B4-BE49-F238E27FC236}">
                <a16:creationId xmlns:a16="http://schemas.microsoft.com/office/drawing/2014/main" id="{C23BDD6F-6C7A-454F-BD3A-0BCDFFAEE08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6" name="Textplatzhalter 6"/>
          <p:cNvSpPr txBox="1">
            <a:spLocks/>
          </p:cNvSpPr>
          <p:nvPr/>
        </p:nvSpPr>
        <p:spPr bwMode="blackWhite">
          <a:xfrm>
            <a:off x="10832400" y="255600"/>
            <a:ext cx="982800" cy="324000"/>
          </a:xfrm>
          <a:prstGeom prst="rect">
            <a:avLst/>
          </a:prstGeom>
          <a:blipFill>
            <a:blip r:embed="rId19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00" kern="1200">
                <a:noFill/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39935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51" r:id="rId2"/>
    <p:sldLayoutId id="2147483655" r:id="rId3"/>
    <p:sldLayoutId id="2147483662" r:id="rId4"/>
    <p:sldLayoutId id="2147483665" r:id="rId5"/>
    <p:sldLayoutId id="2147483650" r:id="rId6"/>
    <p:sldLayoutId id="2147483656" r:id="rId7"/>
    <p:sldLayoutId id="2147483657" r:id="rId8"/>
    <p:sldLayoutId id="2147483663" r:id="rId9"/>
    <p:sldLayoutId id="2147483658" r:id="rId10"/>
    <p:sldLayoutId id="2147483666" r:id="rId11"/>
    <p:sldLayoutId id="2147483654" r:id="rId12"/>
    <p:sldLayoutId id="2147483660" r:id="rId13"/>
    <p:sldLayoutId id="2147483671" r:id="rId14"/>
    <p:sldLayoutId id="2147483667" r:id="rId15"/>
    <p:sldLayoutId id="2147483661" r:id="rId16"/>
    <p:sldLayoutId id="2147483669" r:id="rId17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55600" indent="-1778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34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4" orient="horz" pos="4020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pos="3749" userDrawn="1">
          <p15:clr>
            <a:srgbClr val="F26B43"/>
          </p15:clr>
        </p15:guide>
        <p15:guide id="7" pos="3931" userDrawn="1">
          <p15:clr>
            <a:srgbClr val="F26B43"/>
          </p15:clr>
        </p15:guide>
        <p15:guide id="8" orient="horz" pos="2455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5.xml"/><Relationship Id="rId7" Type="http://schemas.openxmlformats.org/officeDocument/2006/relationships/oleObject" Target="../embeddings/oleObject8.bin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83432" y="1988841"/>
            <a:ext cx="10837092" cy="984885"/>
          </a:xfrm>
        </p:spPr>
        <p:txBody>
          <a:bodyPr/>
          <a:lstStyle/>
          <a:p>
            <a:r>
              <a:rPr lang="de-DE" dirty="0"/>
              <a:t>Präsentation zur </a:t>
            </a:r>
            <a:r>
              <a:rPr lang="de-DE" dirty="0" err="1"/>
              <a:t>GroPro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Abschlussprüfung Sommer 2020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„Zufallszahlengeneratore</a:t>
            </a:r>
            <a:r>
              <a:rPr lang="de-DE" dirty="0"/>
              <a:t>n</a:t>
            </a:r>
            <a:r>
              <a:rPr lang="de-DE" dirty="0" smtClean="0"/>
              <a:t>“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fld id="{FB9AFF1A-74F3-4769-B3E7-7F748D88A726}" type="datetime1">
              <a:rPr lang="de-DE" smtClean="0"/>
              <a:t>16.07.2020</a:t>
            </a:fld>
            <a:r>
              <a:rPr lang="de-DE" dirty="0"/>
              <a:t> | Köln | Bjarne </a:t>
            </a:r>
            <a:r>
              <a:rPr lang="de-DE" dirty="0" smtClean="0"/>
              <a:t>Herrmann | Prüfungsnummer: 142/1874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4304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13890A2-D96B-4ACC-8910-3CE6815AB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6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5B4464-5C32-4CAC-B095-F53846C74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0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9FB13C9-6243-4630-8E2E-5B8FD1AE5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Programm / System</a:t>
            </a:r>
            <a:br>
              <a:rPr lang="de-DE" dirty="0"/>
            </a:br>
            <a:r>
              <a:rPr lang="de-DE" sz="1800" dirty="0"/>
              <a:t>Verfahrensbeschreibung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9DDCCF1-469C-42B3-9388-15999E6415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28D2394-2B60-4AF8-997C-C6DB873279AF}"/>
              </a:ext>
            </a:extLst>
          </p:cNvPr>
          <p:cNvCxnSpPr/>
          <p:nvPr/>
        </p:nvCxnSpPr>
        <p:spPr>
          <a:xfrm>
            <a:off x="2783632" y="6858000"/>
            <a:ext cx="8755196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Diagramm 12">
            <a:extLst>
              <a:ext uri="{FF2B5EF4-FFF2-40B4-BE49-F238E27FC236}">
                <a16:creationId xmlns:a16="http://schemas.microsoft.com/office/drawing/2014/main" id="{709F682A-9C4D-4433-BCE8-7CA67342F1F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5329239"/>
              </p:ext>
            </p:extLst>
          </p:nvPr>
        </p:nvGraphicFramePr>
        <p:xfrm>
          <a:off x="370800" y="2095347"/>
          <a:ext cx="11448000" cy="26673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3139932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AE0A9AE0-3CE0-40CF-B5FC-CF2569008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>
                                            <p:graphicEl>
                                              <a:dgm id="{AE0A9AE0-3CE0-40CF-B5FC-CF2569008F6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69053871-FF8A-4DFC-8E4C-01DDC6D0437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>
                                            <p:graphicEl>
                                              <a:dgm id="{69053871-FF8A-4DFC-8E4C-01DDC6D0437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23477B8D-8061-4500-A954-FF68AFE901E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>
                                            <p:graphicEl>
                                              <a:dgm id="{23477B8D-8061-4500-A954-FF68AFE901E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FC3AC65E-735E-4A7E-92EA-757D1CFCFBE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>
                                            <p:graphicEl>
                                              <a:dgm id="{FC3AC65E-735E-4A7E-92EA-757D1CFCFBE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B1A6F42E-DBEE-40B1-8672-249F8C89556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>
                                            <p:graphicEl>
                                              <a:dgm id="{B1A6F42E-DBEE-40B1-8672-249F8C89556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3" grpId="0">
        <p:bldSub>
          <a:bldDgm bld="one"/>
        </p:bldSub>
      </p:bldGraphic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13890A2-D96B-4ACC-8910-3CE6815AB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6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5B4464-5C32-4CAC-B095-F53846C74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1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9FB13C9-6243-4630-8E2E-5B8FD1AE5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Programm / System</a:t>
            </a:r>
            <a:br>
              <a:rPr lang="de-DE" dirty="0"/>
            </a:br>
            <a:r>
              <a:rPr lang="de-DE" sz="1800" dirty="0"/>
              <a:t>Verfahrensbeschreibung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9DDCCF1-469C-42B3-9388-15999E6415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28D2394-2B60-4AF8-997C-C6DB873279AF}"/>
              </a:ext>
            </a:extLst>
          </p:cNvPr>
          <p:cNvCxnSpPr/>
          <p:nvPr/>
        </p:nvCxnSpPr>
        <p:spPr>
          <a:xfrm>
            <a:off x="2783632" y="6858000"/>
            <a:ext cx="8755196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Diagramm 10">
            <a:extLst>
              <a:ext uri="{FF2B5EF4-FFF2-40B4-BE49-F238E27FC236}">
                <a16:creationId xmlns:a16="http://schemas.microsoft.com/office/drawing/2014/main" id="{B565ED48-4AC3-457D-AA04-1D7633E72F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86034023"/>
              </p:ext>
            </p:extLst>
          </p:nvPr>
        </p:nvGraphicFramePr>
        <p:xfrm>
          <a:off x="370800" y="2095347"/>
          <a:ext cx="3636968" cy="26673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8" name="Grafik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4214" y="1246656"/>
            <a:ext cx="5753100" cy="4972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21207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>
        <p:bldAsOne/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13890A2-D96B-4ACC-8910-3CE6815AB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6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5B4464-5C32-4CAC-B095-F53846C74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2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9FB13C9-6243-4630-8E2E-5B8FD1AE5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854" y="218363"/>
            <a:ext cx="10080000" cy="584775"/>
          </a:xfrm>
        </p:spPr>
        <p:txBody>
          <a:bodyPr/>
          <a:lstStyle/>
          <a:p>
            <a:r>
              <a:rPr lang="de-DE" dirty="0"/>
              <a:t>Programm / System</a:t>
            </a:r>
            <a:br>
              <a:rPr lang="de-DE" dirty="0"/>
            </a:br>
            <a:r>
              <a:rPr lang="de-DE" sz="1800" dirty="0"/>
              <a:t>Klassenstruktur - View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9DDCCF1-469C-42B3-9388-15999E6415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28D2394-2B60-4AF8-997C-C6DB873279AF}"/>
              </a:ext>
            </a:extLst>
          </p:cNvPr>
          <p:cNvCxnSpPr/>
          <p:nvPr/>
        </p:nvCxnSpPr>
        <p:spPr>
          <a:xfrm>
            <a:off x="2783632" y="6858000"/>
            <a:ext cx="8755196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>
            <a:extLst>
              <a:ext uri="{FF2B5EF4-FFF2-40B4-BE49-F238E27FC236}">
                <a16:creationId xmlns:a16="http://schemas.microsoft.com/office/drawing/2014/main" id="{7B1C6B2C-1FC0-43B3-87DA-3903C75FEA0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577" y="2139594"/>
            <a:ext cx="16777864" cy="3242010"/>
          </a:xfrm>
          <a:prstGeom prst="rect">
            <a:avLst/>
          </a:prstGeom>
        </p:spPr>
      </p:pic>
      <p:sp>
        <p:nvSpPr>
          <p:cNvPr id="22" name="Rechteck 21">
            <a:extLst>
              <a:ext uri="{FF2B5EF4-FFF2-40B4-BE49-F238E27FC236}">
                <a16:creationId xmlns:a16="http://schemas.microsoft.com/office/drawing/2014/main" id="{5A7B4A58-6879-4EDB-B45D-F57FEC7E7FC5}"/>
              </a:ext>
            </a:extLst>
          </p:cNvPr>
          <p:cNvSpPr/>
          <p:nvPr/>
        </p:nvSpPr>
        <p:spPr>
          <a:xfrm>
            <a:off x="8184232" y="1279387"/>
            <a:ext cx="4007767" cy="48435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 algn="l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View</a:t>
            </a: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Generische IO</a:t>
            </a: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Realisierung mittels </a:t>
            </a:r>
            <a:r>
              <a:rPr lang="de-DE" sz="1400" dirty="0" err="1" smtClean="0">
                <a:solidFill>
                  <a:schemeClr val="tx1"/>
                </a:solidFill>
              </a:rPr>
              <a:t>TextFile</a:t>
            </a:r>
            <a:r>
              <a:rPr lang="de-DE" sz="1400" dirty="0" smtClean="0">
                <a:solidFill>
                  <a:schemeClr val="tx1"/>
                </a:solidFill>
              </a:rPr>
              <a:t>-Objekt</a:t>
            </a:r>
            <a:endParaRPr lang="de-DE" sz="1400" dirty="0">
              <a:solidFill>
                <a:schemeClr val="tx1"/>
              </a:solidFill>
            </a:endParaRP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endParaRPr lang="de-DE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 err="1">
                <a:solidFill>
                  <a:schemeClr val="tx1"/>
                </a:solidFill>
              </a:rPr>
              <a:t>Presenter</a:t>
            </a:r>
            <a:endParaRPr lang="de-DE" sz="1400" dirty="0">
              <a:solidFill>
                <a:schemeClr val="tx1"/>
              </a:solidFill>
            </a:endParaRP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 err="1" smtClean="0">
                <a:solidFill>
                  <a:schemeClr val="tx1"/>
                </a:solidFill>
              </a:rPr>
              <a:t>Exceptionhandling</a:t>
            </a:r>
            <a:endParaRPr lang="de-DE" sz="1400" dirty="0">
              <a:solidFill>
                <a:schemeClr val="tx1"/>
              </a:solidFill>
            </a:endParaRPr>
          </a:p>
          <a:p>
            <a:pPr marL="1200150" lvl="2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 smtClean="0">
                <a:solidFill>
                  <a:schemeClr val="tx1"/>
                </a:solidFill>
              </a:rPr>
              <a:t>Semantik-</a:t>
            </a:r>
            <a:r>
              <a:rPr lang="de-DE" sz="1400" dirty="0">
                <a:solidFill>
                  <a:schemeClr val="tx1"/>
                </a:solidFill>
              </a:rPr>
              <a:t>/</a:t>
            </a:r>
            <a:r>
              <a:rPr lang="de-DE" sz="1400" dirty="0" smtClean="0">
                <a:solidFill>
                  <a:schemeClr val="tx1"/>
                </a:solidFill>
              </a:rPr>
              <a:t>Syntaxfehler</a:t>
            </a:r>
          </a:p>
          <a:p>
            <a:pPr marL="1200150" lvl="2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 smtClean="0">
                <a:solidFill>
                  <a:schemeClr val="tx1"/>
                </a:solidFill>
              </a:rPr>
              <a:t>Technische Fehler</a:t>
            </a:r>
            <a:endParaRPr lang="de-DE" sz="1400" dirty="0">
              <a:solidFill>
                <a:schemeClr val="tx1"/>
              </a:solidFill>
            </a:endParaRP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Zufallsgenerator</a:t>
            </a:r>
          </a:p>
          <a:p>
            <a:pPr marL="1200150" lvl="2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Verwendet generische Klassen</a:t>
            </a:r>
          </a:p>
          <a:p>
            <a:pPr marL="285750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Model</a:t>
            </a: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 err="1">
                <a:solidFill>
                  <a:schemeClr val="tx1"/>
                </a:solidFill>
              </a:rPr>
              <a:t>ZufallData</a:t>
            </a:r>
            <a:endParaRPr lang="de-DE" sz="1400" dirty="0">
              <a:solidFill>
                <a:schemeClr val="tx1"/>
              </a:solidFill>
            </a:endParaRP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 err="1">
                <a:solidFill>
                  <a:schemeClr val="tx1"/>
                </a:solidFill>
              </a:rPr>
              <a:t>ZufallErgebnisData</a:t>
            </a:r>
            <a:endParaRPr lang="de-DE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34A670EF-7C52-44A7-9B23-823AFF98EB41}"/>
              </a:ext>
            </a:extLst>
          </p:cNvPr>
          <p:cNvCxnSpPr/>
          <p:nvPr/>
        </p:nvCxnSpPr>
        <p:spPr>
          <a:xfrm>
            <a:off x="12192000" y="1124744"/>
            <a:ext cx="0" cy="504056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384616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022E-16 3.7037E-7 L -0.65117 3.7037E-7 " pathEditMode="relative" rAng="0" ptsTypes="AA">
                                      <p:cBhvr>
                                        <p:cTn id="20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2565" y="0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65117 3.7037E-7 L -1.0056 3.7037E-7 " pathEditMode="relative" rAng="0" ptsTypes="AA">
                                      <p:cBhvr>
                                        <p:cTn id="42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721" y="0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13890A2-D96B-4ACC-8910-3CE6815AB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6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5B4464-5C32-4CAC-B095-F53846C74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3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9FB13C9-6243-4630-8E2E-5B8FD1AE5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854" y="218363"/>
            <a:ext cx="10080000" cy="584775"/>
          </a:xfrm>
        </p:spPr>
        <p:txBody>
          <a:bodyPr/>
          <a:lstStyle/>
          <a:p>
            <a:r>
              <a:rPr lang="de-DE" dirty="0"/>
              <a:t>Programm / System</a:t>
            </a:r>
            <a:br>
              <a:rPr lang="de-DE" dirty="0"/>
            </a:br>
            <a:r>
              <a:rPr lang="de-DE" sz="1800" dirty="0"/>
              <a:t>Datenflus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9DDCCF1-469C-42B3-9388-15999E6415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28D2394-2B60-4AF8-997C-C6DB873279AF}"/>
              </a:ext>
            </a:extLst>
          </p:cNvPr>
          <p:cNvCxnSpPr/>
          <p:nvPr/>
        </p:nvCxnSpPr>
        <p:spPr>
          <a:xfrm>
            <a:off x="2783632" y="6858000"/>
            <a:ext cx="8755196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fik 11">
            <a:extLst>
              <a:ext uri="{FF2B5EF4-FFF2-40B4-BE49-F238E27FC236}">
                <a16:creationId xmlns:a16="http://schemas.microsoft.com/office/drawing/2014/main" id="{5411B075-355D-4594-8151-C8CD3FDF434F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56809" y="1278091"/>
            <a:ext cx="5771639" cy="986275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139352A1-E4B6-4FE4-A1EB-7287CA049C22}"/>
              </a:ext>
            </a:extLst>
          </p:cNvPr>
          <p:cNvSpPr/>
          <p:nvPr/>
        </p:nvSpPr>
        <p:spPr>
          <a:xfrm>
            <a:off x="3503712" y="5733256"/>
            <a:ext cx="6984776" cy="1124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C59E3B2-570A-4DC0-B223-35A63D84EECC}"/>
              </a:ext>
            </a:extLst>
          </p:cNvPr>
          <p:cNvSpPr/>
          <p:nvPr/>
        </p:nvSpPr>
        <p:spPr>
          <a:xfrm>
            <a:off x="3007296" y="1124138"/>
            <a:ext cx="7128792" cy="648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66C245EA-6CFC-43BA-9520-F4642DD7011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6736" y="1296405"/>
            <a:ext cx="3867056" cy="238013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Start-Methode</a:t>
            </a:r>
            <a:endParaRPr lang="de-DE" dirty="0"/>
          </a:p>
          <a:p>
            <a:pPr marL="465750" lvl="2" indent="-285750"/>
            <a:r>
              <a:rPr lang="de-DE" dirty="0" smtClean="0"/>
              <a:t>Generiere Ausgabeliste</a:t>
            </a:r>
          </a:p>
          <a:p>
            <a:pPr marL="465750" lvl="2" indent="-285750"/>
            <a:r>
              <a:rPr lang="de-DE" dirty="0" smtClean="0"/>
              <a:t>Iteriere durch Eingabeliste</a:t>
            </a:r>
          </a:p>
          <a:p>
            <a:pPr marL="645750" lvl="3" indent="-285750"/>
            <a:r>
              <a:rPr lang="de-DE" dirty="0" smtClean="0"/>
              <a:t>Mapping</a:t>
            </a:r>
          </a:p>
          <a:p>
            <a:pPr marL="645750" lvl="3" indent="-285750"/>
            <a:r>
              <a:rPr lang="de-DE" dirty="0" smtClean="0"/>
              <a:t>Berechnen</a:t>
            </a:r>
          </a:p>
          <a:p>
            <a:pPr marL="645750" lvl="3" indent="-285750"/>
            <a:r>
              <a:rPr lang="de-DE" dirty="0" smtClean="0"/>
              <a:t>Mapping</a:t>
            </a:r>
          </a:p>
          <a:p>
            <a:pPr marL="645750" lvl="3" indent="-285750"/>
            <a:r>
              <a:rPr lang="de-DE" dirty="0" smtClean="0"/>
              <a:t>Ausgabeliste hinzufügen</a:t>
            </a:r>
          </a:p>
          <a:p>
            <a:pPr marL="645750" lvl="3" indent="-285750"/>
            <a:r>
              <a:rPr lang="de-DE" dirty="0" err="1" smtClean="0"/>
              <a:t>Exceptions</a:t>
            </a:r>
            <a:r>
              <a:rPr lang="de-DE" dirty="0" smtClean="0"/>
              <a:t> gesondert behandeln</a:t>
            </a:r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A5EA153-64F2-478E-B607-03249B46BED9}"/>
              </a:ext>
            </a:extLst>
          </p:cNvPr>
          <p:cNvSpPr/>
          <p:nvPr/>
        </p:nvSpPr>
        <p:spPr>
          <a:xfrm>
            <a:off x="2999656" y="0"/>
            <a:ext cx="7521198" cy="11247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823592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-4.07407E-6 L -4.16667E-7 -0.53333 " pathEditMode="relative" rAng="0" ptsTypes="AA">
                                      <p:cBhvr>
                                        <p:cTn id="28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6667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1794E40-FC98-4C35-955E-2A8FE2C97E7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5316" y="917716"/>
            <a:ext cx="3093796" cy="3339376"/>
          </a:xfrm>
        </p:spPr>
        <p:txBody>
          <a:bodyPr/>
          <a:lstStyle/>
          <a:p>
            <a:r>
              <a:rPr lang="de-DE" dirty="0"/>
              <a:t>03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7B76458-B8BF-465E-8A2A-CA7F1499D87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esting</a:t>
            </a:r>
          </a:p>
        </p:txBody>
      </p:sp>
    </p:spTree>
    <p:extLst>
      <p:ext uri="{BB962C8B-B14F-4D97-AF65-F5344CB8AC3E}">
        <p14:creationId xmlns:p14="http://schemas.microsoft.com/office/powerpoint/2010/main" val="336751714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FC1DBFF-5F28-44E4-8F9A-7E420CC9C4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6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6B0317D-3774-4AE7-8870-328202E0E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5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2A90DB4-0961-441E-8CED-D1BB66C3C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Testing</a:t>
            </a:r>
            <a:br>
              <a:rPr lang="de-DE" dirty="0"/>
            </a:br>
            <a:r>
              <a:rPr lang="de-DE" sz="1800" dirty="0"/>
              <a:t>Testfälle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650036-2E09-4A24-B6F9-ED2762BE336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398FA62-3EB0-40B6-869C-87619F5431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3544560"/>
          </a:xfrm>
        </p:spPr>
        <p:txBody>
          <a:bodyPr/>
          <a:lstStyle/>
          <a:p>
            <a:pPr marL="465750" lvl="2" indent="-285750"/>
            <a:r>
              <a:rPr lang="de-DE" b="1" dirty="0" smtClean="0">
                <a:solidFill>
                  <a:schemeClr val="accent1"/>
                </a:solidFill>
              </a:rPr>
              <a:t>Positivtests</a:t>
            </a:r>
            <a:endParaRPr lang="de-DE" b="1" dirty="0">
              <a:solidFill>
                <a:schemeClr val="accent1"/>
              </a:solidFill>
            </a:endParaRPr>
          </a:p>
          <a:p>
            <a:pPr marL="645750" lvl="3" indent="-285750"/>
            <a:r>
              <a:rPr lang="de-DE" dirty="0"/>
              <a:t>LCG (Simpel/ANSI/</a:t>
            </a:r>
            <a:r>
              <a:rPr lang="de-DE" dirty="0" err="1"/>
              <a:t>MinimalStandard</a:t>
            </a:r>
            <a:r>
              <a:rPr lang="de-DE" dirty="0"/>
              <a:t>/RANDU/SIMSCRIPT/NAG/</a:t>
            </a:r>
            <a:r>
              <a:rPr lang="de-DE" dirty="0" err="1"/>
              <a:t>Maple</a:t>
            </a:r>
            <a:r>
              <a:rPr lang="de-DE" dirty="0"/>
              <a:t>)</a:t>
            </a:r>
          </a:p>
          <a:p>
            <a:pPr marL="645750" lvl="3" indent="-285750"/>
            <a:r>
              <a:rPr lang="de-DE" dirty="0"/>
              <a:t>Polarmethode (Interne Java-Zufallszahlen-Library / LCG-Basis)</a:t>
            </a:r>
          </a:p>
          <a:p>
            <a:pPr marL="645750" lvl="3" indent="-285750"/>
            <a:r>
              <a:rPr lang="de-DE" dirty="0" err="1"/>
              <a:t>SequenzUpDown</a:t>
            </a:r>
            <a:r>
              <a:rPr lang="de-DE" dirty="0"/>
              <a:t> (LCG-Simpel/ANSI)</a:t>
            </a:r>
          </a:p>
          <a:p>
            <a:pPr marL="645750" lvl="3" indent="-285750"/>
            <a:r>
              <a:rPr lang="de-DE" dirty="0"/>
              <a:t>Serielle-Autokorrelation (LCG-Simpel/ANSI)</a:t>
            </a:r>
          </a:p>
          <a:p>
            <a:pPr marL="645750" lvl="3" indent="-285750"/>
            <a:r>
              <a:rPr lang="de-DE" dirty="0"/>
              <a:t>Eigene Zufallsmethoden</a:t>
            </a:r>
          </a:p>
          <a:p>
            <a:pPr marL="465750" lvl="2" indent="-285750"/>
            <a:r>
              <a:rPr lang="de-DE" b="1" dirty="0">
                <a:solidFill>
                  <a:schemeClr val="accent1"/>
                </a:solidFill>
              </a:rPr>
              <a:t>Negativtests</a:t>
            </a:r>
          </a:p>
          <a:p>
            <a:pPr marL="645750" lvl="3" indent="-285750"/>
            <a:r>
              <a:rPr lang="de-DE" dirty="0"/>
              <a:t>Diverse Mapping-Fehlerszenarien (fehlende Angaben, falsche Zeichen)</a:t>
            </a:r>
          </a:p>
          <a:p>
            <a:pPr marL="645750" lvl="3" indent="-285750"/>
            <a:r>
              <a:rPr lang="de-DE" dirty="0"/>
              <a:t>Fehlerfälle für jeden Generatortyp</a:t>
            </a:r>
          </a:p>
          <a:p>
            <a:pPr marL="645750" lvl="3" indent="-285750"/>
            <a:r>
              <a:rPr lang="de-DE" dirty="0"/>
              <a:t>Fehlerfälle für jedes Bewertungsverfahren</a:t>
            </a:r>
          </a:p>
          <a:p>
            <a:pPr marL="645750" lvl="3" indent="-285750"/>
            <a:r>
              <a:rPr lang="de-DE" dirty="0" smtClean="0"/>
              <a:t>Grenzfälle</a:t>
            </a:r>
            <a:endParaRPr lang="de-DE" dirty="0"/>
          </a:p>
          <a:p>
            <a:pPr lvl="3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394560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287338F-7701-496A-B512-AE38465C79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6.07.2020</a:t>
            </a:fld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51E1E00-C64D-4F36-A3EB-A165885F2A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6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60BBF40-BF43-4AC3-B315-37D6ED4660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Testing</a:t>
            </a:r>
            <a:br>
              <a:rPr lang="de-DE" dirty="0"/>
            </a:br>
            <a:r>
              <a:rPr lang="de-DE" sz="1800" dirty="0"/>
              <a:t>Beispiel 1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075624E-01A0-4746-A13C-0896E30943B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3BAAE5D-12DD-406E-8BD9-DD5FF9D286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246221"/>
          </a:xfrm>
        </p:spPr>
        <p:txBody>
          <a:bodyPr anchor="t"/>
          <a:lstStyle/>
          <a:p>
            <a:pPr marL="285750" indent="-285750">
              <a:buFontTx/>
              <a:buChar char="-"/>
            </a:pPr>
            <a:r>
              <a:rPr lang="de-DE" dirty="0"/>
              <a:t>Testfall: LCG, Anzahl n zu groß (maximal 50000)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4ED5AF23-E57C-4B2F-83D4-591D98955E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0800" y="1865284"/>
            <a:ext cx="7391400" cy="425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6934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287338F-7701-496A-B512-AE38465C79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6.07.2020</a:t>
            </a:fld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51E1E00-C64D-4F36-A3EB-A165885F2A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7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60BBF40-BF43-4AC3-B315-37D6ED4660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Testing</a:t>
            </a:r>
            <a:br>
              <a:rPr lang="de-DE" dirty="0"/>
            </a:br>
            <a:r>
              <a:rPr lang="de-DE" sz="1800" dirty="0"/>
              <a:t>Beispiel 2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075624E-01A0-4746-A13C-0896E30943B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3BAAE5D-12DD-406E-8BD9-DD5FF9D286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246221"/>
          </a:xfrm>
        </p:spPr>
        <p:txBody>
          <a:bodyPr anchor="t"/>
          <a:lstStyle/>
          <a:p>
            <a:pPr marL="285750" indent="-285750">
              <a:buFontTx/>
              <a:buChar char="-"/>
            </a:pPr>
            <a:r>
              <a:rPr lang="de-DE" dirty="0"/>
              <a:t>Testfall: LCG, keine Reduzierung auf Intervall [0;1]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47B422A-B74C-488B-AE04-50608CD2C7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0800" y="1874809"/>
            <a:ext cx="7381875" cy="424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969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F9C987E-B618-4BC0-AE13-6EAD46A13C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5316" y="917716"/>
            <a:ext cx="3093796" cy="3339376"/>
          </a:xfrm>
        </p:spPr>
        <p:txBody>
          <a:bodyPr/>
          <a:lstStyle/>
          <a:p>
            <a:r>
              <a:rPr lang="de-DE" dirty="0"/>
              <a:t>04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AFF314-B447-4665-9212-B073C96557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Ergebnisinterpretation und Ausblick</a:t>
            </a:r>
          </a:p>
        </p:txBody>
      </p:sp>
    </p:spTree>
    <p:extLst>
      <p:ext uri="{BB962C8B-B14F-4D97-AF65-F5344CB8AC3E}">
        <p14:creationId xmlns:p14="http://schemas.microsoft.com/office/powerpoint/2010/main" val="4255401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FC1DBFF-5F28-44E4-8F9A-7E420CC9C4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6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6B0317D-3774-4AE7-8870-328202E0E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9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2A90DB4-0961-441E-8CED-D1BB66C3C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 smtClean="0"/>
              <a:t>Ergebnisinterpretation und Ausblick</a:t>
            </a:r>
            <a:br>
              <a:rPr lang="de-DE" dirty="0" smtClean="0"/>
            </a:br>
            <a:r>
              <a:rPr lang="de-DE" sz="1800" dirty="0" smtClean="0"/>
              <a:t>Bewertung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650036-2E09-4A24-B6F9-ED2762BE336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398FA62-3EB0-40B6-869C-87619F5431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178510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Beispiel: LCG-ANSI-C</a:t>
            </a:r>
          </a:p>
          <a:p>
            <a:pPr marL="465750" lvl="2" indent="-285750"/>
            <a:r>
              <a:rPr lang="de-DE" dirty="0" smtClean="0"/>
              <a:t>Testergebnisse sind „gut“ (?)</a:t>
            </a:r>
          </a:p>
          <a:p>
            <a:pPr marL="465750" lvl="2" indent="-285750"/>
            <a:r>
              <a:rPr lang="de-DE" dirty="0" smtClean="0"/>
              <a:t>Bewertungsmöglichkeiten</a:t>
            </a:r>
          </a:p>
          <a:p>
            <a:pPr marL="645750" lvl="3" indent="-285750"/>
            <a:r>
              <a:rPr lang="de-DE" dirty="0" smtClean="0"/>
              <a:t>Bewertung von Roh mittels Konfidenzintervallen</a:t>
            </a:r>
          </a:p>
          <a:p>
            <a:pPr marL="645750" lvl="3" indent="-285750"/>
            <a:r>
              <a:rPr lang="de-DE" dirty="0" smtClean="0"/>
              <a:t>Einteilung in Positiv-/Negativintervall – Prozentuale Bewertung</a:t>
            </a:r>
            <a:endParaRPr lang="de-DE" dirty="0"/>
          </a:p>
          <a:p>
            <a:pPr marL="645750" lvl="3" indent="-285750"/>
            <a:r>
              <a:rPr lang="de-DE" dirty="0" smtClean="0"/>
              <a:t>Gewichtung einzelner Verfahren für Gesamtbewertung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72064" y="1196752"/>
            <a:ext cx="5438775" cy="4857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12153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platzhalter 2"/>
          <p:cNvPicPr>
            <a:picLocks noGrp="1" noChangeAspect="1"/>
          </p:cNvPicPr>
          <p:nvPr>
            <p:ph type="pic" sz="quarter" idx="1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" r="28"/>
          <a:stretch>
            <a:fillRect/>
          </a:stretch>
        </p:blipFill>
        <p:spPr/>
      </p:pic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5CBBEB5-C90F-4C48-99CD-A1498F0F41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9" name="Titel 18"/>
          <p:cNvSpPr>
            <a:spLocks noGrp="1"/>
          </p:cNvSpPr>
          <p:nvPr>
            <p:ph type="ctrTitle"/>
          </p:nvPr>
        </p:nvSpPr>
        <p:spPr>
          <a:xfrm>
            <a:off x="983432" y="1988840"/>
            <a:ext cx="10837092" cy="984885"/>
          </a:xfrm>
        </p:spPr>
        <p:txBody>
          <a:bodyPr/>
          <a:lstStyle/>
          <a:p>
            <a:r>
              <a:rPr lang="de-DE" dirty="0"/>
              <a:t>Gothaer Systems GmbH</a:t>
            </a:r>
            <a:br>
              <a:rPr lang="de-DE" dirty="0"/>
            </a:br>
            <a:endParaRPr lang="de-DE" dirty="0"/>
          </a:p>
        </p:txBody>
      </p:sp>
      <p:sp>
        <p:nvSpPr>
          <p:cNvPr id="20" name="Untertitel 19"/>
          <p:cNvSpPr>
            <a:spLocks noGrp="1"/>
          </p:cNvSpPr>
          <p:nvPr>
            <p:ph type="subTitle" idx="1"/>
          </p:nvPr>
        </p:nvSpPr>
        <p:spPr>
          <a:xfrm>
            <a:off x="983432" y="3143001"/>
            <a:ext cx="10837092" cy="1107996"/>
          </a:xfrm>
        </p:spPr>
        <p:txBody>
          <a:bodyPr/>
          <a:lstStyle/>
          <a:p>
            <a:pPr marL="342900" indent="-342900" defTabSz="872436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dirty="0">
                <a:latin typeface="Arial" charset="0"/>
              </a:rPr>
              <a:t>IT-Dienstleister der Gothaer-Versicherungsbank</a:t>
            </a:r>
          </a:p>
          <a:p>
            <a:pPr marL="342900" indent="-342900" defTabSz="872436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dirty="0">
                <a:latin typeface="Arial" charset="0"/>
              </a:rPr>
              <a:t>ca. 600 interne Mitarbeiter</a:t>
            </a:r>
          </a:p>
          <a:p>
            <a:pPr marL="342900" indent="-342900" defTabSz="872436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dirty="0">
                <a:latin typeface="Arial" charset="0"/>
              </a:rPr>
              <a:t>Letzter Praktikumseinsatz im Team SPS-SCH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D731235-838E-4F9E-9628-064E8F1FFB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3171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4" name="think-cell Folie" r:id="rId7" imgW="344" imgH="345" progId="TCLayout.ActiveDocument.1">
                  <p:embed/>
                </p:oleObj>
              </mc:Choice>
              <mc:Fallback>
                <p:oleObj name="think-cell Folie" r:id="rId7" imgW="344" imgH="345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endParaRPr lang="de-DE" sz="32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82164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6.07.2020</a:t>
            </a:fld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  </a:t>
            </a:r>
            <a:fld id="{2B4F42BA-C6E3-4D5B-99FA-36163155CEA7}" type="slidenum">
              <a:rPr lang="de-DE" smtClean="0"/>
              <a:pPr/>
              <a:t>20</a:t>
            </a:fld>
            <a:endParaRPr lang="de-DE" noProof="0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Ergebnisinterpretation und Ausblick</a:t>
            </a:r>
            <a:br>
              <a:rPr lang="de-DE" dirty="0"/>
            </a:br>
            <a:r>
              <a:rPr lang="de-DE" sz="1800" dirty="0" smtClean="0"/>
              <a:t>Programmerweiterung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2728952"/>
          </a:xfrm>
        </p:spPr>
        <p:txBody>
          <a:bodyPr/>
          <a:lstStyle/>
          <a:p>
            <a:pPr marL="465750" lvl="2" indent="-285750"/>
            <a:r>
              <a:rPr lang="de-DE" dirty="0" smtClean="0"/>
              <a:t>Generell Erweiterbar</a:t>
            </a:r>
          </a:p>
          <a:p>
            <a:pPr marL="465750" lvl="2" indent="-285750"/>
            <a:r>
              <a:rPr lang="de-DE" dirty="0" smtClean="0"/>
              <a:t>Factory</a:t>
            </a:r>
          </a:p>
          <a:p>
            <a:pPr marL="645750" lvl="3" indent="-285750"/>
            <a:r>
              <a:rPr lang="de-DE" dirty="0" smtClean="0"/>
              <a:t>Durch Interfaces muss </a:t>
            </a:r>
            <a:r>
              <a:rPr lang="de-DE" dirty="0" err="1" smtClean="0"/>
              <a:t>Presenter</a:t>
            </a:r>
            <a:r>
              <a:rPr lang="de-DE" dirty="0"/>
              <a:t> </a:t>
            </a:r>
            <a:r>
              <a:rPr lang="de-DE" dirty="0" smtClean="0"/>
              <a:t>für jedes Szenario unterscheiden</a:t>
            </a:r>
          </a:p>
          <a:p>
            <a:pPr marL="645750" lvl="3" indent="-285750"/>
            <a:r>
              <a:rPr lang="de-DE" dirty="0" smtClean="0"/>
              <a:t>Ab gewissen Kopmlexitätsniveau</a:t>
            </a:r>
            <a:r>
              <a:rPr lang="de-DE" dirty="0"/>
              <a:t> </a:t>
            </a:r>
            <a:r>
              <a:rPr lang="de-DE" dirty="0" smtClean="0"/>
              <a:t>kann Factory aushelfen</a:t>
            </a:r>
          </a:p>
          <a:p>
            <a:pPr marL="465750" lvl="2" indent="-285750"/>
            <a:r>
              <a:rPr lang="de-DE" dirty="0" smtClean="0"/>
              <a:t>Vererbung</a:t>
            </a:r>
          </a:p>
          <a:p>
            <a:pPr marL="645750" lvl="3" indent="-285750"/>
            <a:r>
              <a:rPr lang="de-DE" dirty="0" smtClean="0"/>
              <a:t>Speichern von mehr Informationen in abstrakten Konstrukten</a:t>
            </a:r>
          </a:p>
          <a:p>
            <a:pPr marL="645750" lvl="3" indent="-285750"/>
            <a:r>
              <a:rPr lang="de-DE" dirty="0" smtClean="0"/>
              <a:t>Generalisierung in spezifische Arten</a:t>
            </a:r>
          </a:p>
          <a:p>
            <a:pPr marL="465750" lvl="2" indent="-285750"/>
            <a:r>
              <a:rPr lang="de-DE" dirty="0" smtClean="0"/>
              <a:t>Abkopplung des Zufall-Generators in eine JAR (Bibliothek)</a:t>
            </a:r>
          </a:p>
          <a:p>
            <a:pPr marL="645750" lvl="3" indent="-285750"/>
            <a:r>
              <a:rPr lang="de-DE" dirty="0" smtClean="0"/>
              <a:t>Getrennte Nutzung für Testing und Anbindung</a:t>
            </a:r>
          </a:p>
        </p:txBody>
      </p:sp>
    </p:spTree>
    <p:extLst>
      <p:ext uri="{BB962C8B-B14F-4D97-AF65-F5344CB8AC3E}">
        <p14:creationId xmlns:p14="http://schemas.microsoft.com/office/powerpoint/2010/main" val="674957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83432" y="3187960"/>
            <a:ext cx="10837092" cy="1661993"/>
          </a:xfrm>
        </p:spPr>
        <p:txBody>
          <a:bodyPr/>
          <a:lstStyle/>
          <a:p>
            <a:r>
              <a:rPr lang="de-DE" dirty="0"/>
              <a:t>Vielen Dank für Ihre Aufmerksamkeit</a:t>
            </a:r>
          </a:p>
        </p:txBody>
      </p:sp>
    </p:spTree>
    <p:extLst>
      <p:ext uri="{BB962C8B-B14F-4D97-AF65-F5344CB8AC3E}">
        <p14:creationId xmlns:p14="http://schemas.microsoft.com/office/powerpoint/2010/main" val="401969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65067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2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elle">
            <a:extLst>
              <a:ext uri="{FF2B5EF4-FFF2-40B4-BE49-F238E27FC236}">
                <a16:creationId xmlns:a16="http://schemas.microsoft.com/office/drawing/2014/main" id="{8F3AD83B-9973-4EE2-AFA1-0A938B6549E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43282527"/>
              </p:ext>
            </p:extLst>
          </p:nvPr>
        </p:nvGraphicFramePr>
        <p:xfrm>
          <a:off x="911424" y="2132856"/>
          <a:ext cx="10883527" cy="35066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42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100">
                  <a:extLst>
                    <a:ext uri="{9D8B030D-6E8A-4147-A177-3AD203B41FA5}">
                      <a16:colId xmlns:a16="http://schemas.microsoft.com/office/drawing/2014/main" val="1770018436"/>
                    </a:ext>
                  </a:extLst>
                </a:gridCol>
                <a:gridCol w="100601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920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2000" b="1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38112" marR="38112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de-DE" sz="2400" b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8112" marR="38112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Analyse / </a:t>
                      </a: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rangehensweise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90558" marR="190558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920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2000" b="1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marL="38112" marR="38112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de-DE" sz="2400" b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8112" marR="38112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gramm / System</a:t>
                      </a:r>
                    </a:p>
                  </a:txBody>
                  <a:tcPr marL="190558" marR="190558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920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2000" b="1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marL="38112" marR="38112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de-DE" sz="3600" b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8112" marR="38112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sting</a:t>
                      </a:r>
                    </a:p>
                  </a:txBody>
                  <a:tcPr marL="190558" marR="190558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920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2000" b="1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marL="38112" marR="38112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de-DE" sz="2400" b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8112" marR="38112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de-DE" sz="16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rgebnisinterpretation </a:t>
                      </a: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 Ausblick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0558" marR="190558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A772C9DE-AC5C-4F5F-800B-ACA0FB34E690}"/>
              </a:ext>
            </a:extLst>
          </p:cNvPr>
          <p:cNvSpPr/>
          <p:nvPr/>
        </p:nvSpPr>
        <p:spPr bwMode="white">
          <a:xfrm flipH="1">
            <a:off x="911424" y="2132856"/>
            <a:ext cx="100802" cy="100802"/>
          </a:xfrm>
          <a:custGeom>
            <a:avLst/>
            <a:gdLst>
              <a:gd name="connsiteX0" fmla="*/ 100802 w 100802"/>
              <a:gd name="connsiteY0" fmla="*/ 0 h 100802"/>
              <a:gd name="connsiteX1" fmla="*/ 0 w 100802"/>
              <a:gd name="connsiteY1" fmla="*/ 0 h 100802"/>
              <a:gd name="connsiteX2" fmla="*/ 100802 w 100802"/>
              <a:gd name="connsiteY2" fmla="*/ 100802 h 100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802" h="100802">
                <a:moveTo>
                  <a:pt x="100802" y="0"/>
                </a:moveTo>
                <a:lnTo>
                  <a:pt x="0" y="0"/>
                </a:lnTo>
                <a:cubicBezTo>
                  <a:pt x="55671" y="0"/>
                  <a:pt x="100802" y="45131"/>
                  <a:pt x="100802" y="10080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1461382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E13E3F6-5243-4FBE-9F3E-EE0E9326CCE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5316" y="917716"/>
            <a:ext cx="3093796" cy="3339376"/>
          </a:xfrm>
        </p:spPr>
        <p:txBody>
          <a:bodyPr/>
          <a:lstStyle/>
          <a:p>
            <a:r>
              <a:rPr lang="de-DE" dirty="0"/>
              <a:t>01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383EDAD-6262-4373-9517-2907B02C5A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nalyse und Herangehensweise</a:t>
            </a:r>
          </a:p>
        </p:txBody>
      </p:sp>
    </p:spTree>
    <p:extLst>
      <p:ext uri="{BB962C8B-B14F-4D97-AF65-F5344CB8AC3E}">
        <p14:creationId xmlns:p14="http://schemas.microsoft.com/office/powerpoint/2010/main" val="242116297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FC1DBFF-5F28-44E4-8F9A-7E420CC9C4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6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6B0317D-3774-4AE7-8870-328202E0E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5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2A90DB4-0961-441E-8CED-D1BB66C3C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Analyse und Herangehensweise</a:t>
            </a:r>
            <a:br>
              <a:rPr lang="de-DE" dirty="0"/>
            </a:br>
            <a:r>
              <a:rPr lang="de-DE" sz="1800" dirty="0"/>
              <a:t>Zieldefinitio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650036-2E09-4A24-B6F9-ED2762BE336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398FA62-3EB0-40B6-869C-87619F5431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347787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Initiale Anforderungen</a:t>
            </a:r>
          </a:p>
          <a:p>
            <a:pPr marL="465750" lvl="2" indent="-285750"/>
            <a:r>
              <a:rPr lang="de-DE" dirty="0"/>
              <a:t>Generatoren erzeugen Zufallszahlen</a:t>
            </a:r>
          </a:p>
          <a:p>
            <a:pPr marL="465750" lvl="2" indent="-285750"/>
            <a:r>
              <a:rPr lang="de-DE" dirty="0"/>
              <a:t>Zufallszahlen werden mit spezifischen Verfahren bewertet</a:t>
            </a:r>
          </a:p>
          <a:p>
            <a:pPr marL="465750" lvl="2" indent="-285750"/>
            <a:r>
              <a:rPr lang="de-DE" dirty="0"/>
              <a:t>Die zu verwendenden Methoden / Verfahren muss angegeben werden können</a:t>
            </a:r>
          </a:p>
          <a:p>
            <a:pPr marL="465750" lvl="2" indent="-285750"/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chemeClr val="accent1"/>
                </a:solidFill>
              </a:rPr>
              <a:t>Unklarheiten / Fragen</a:t>
            </a:r>
          </a:p>
          <a:p>
            <a:pPr marL="465750" lvl="2" indent="-285750"/>
            <a:r>
              <a:rPr lang="de-DE" dirty="0"/>
              <a:t>Wann sind Zufallszahlen hinsichtlich erwähnter Verfahren „gut“ / Was bedeutet „gut“ / „schlecht“?</a:t>
            </a:r>
          </a:p>
          <a:p>
            <a:pPr marL="465750" lvl="2" indent="-285750"/>
            <a:r>
              <a:rPr lang="de-DE" dirty="0"/>
              <a:t>Wie lassen sich Ergebnisse interpretieren?</a:t>
            </a:r>
          </a:p>
          <a:p>
            <a:pPr marL="465750" lvl="2" indent="-285750"/>
            <a:r>
              <a:rPr lang="de-DE" dirty="0"/>
              <a:t>Wie lassen sich Anforderungen testen?</a:t>
            </a:r>
          </a:p>
          <a:p>
            <a:pPr marL="465750" lvl="2" indent="-285750"/>
            <a:endParaRPr lang="de-DE" dirty="0"/>
          </a:p>
          <a:p>
            <a:pPr marL="465750" lvl="2" indent="-285750"/>
            <a:r>
              <a:rPr lang="de-DE" dirty="0"/>
              <a:t>Eigene Definition oben gestellter Fragen</a:t>
            </a:r>
          </a:p>
        </p:txBody>
      </p:sp>
    </p:spTree>
    <p:extLst>
      <p:ext uri="{BB962C8B-B14F-4D97-AF65-F5344CB8AC3E}">
        <p14:creationId xmlns:p14="http://schemas.microsoft.com/office/powerpoint/2010/main" val="68272269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FC1DBFF-5F28-44E4-8F9A-7E420CC9C4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6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6B0317D-3774-4AE7-8870-328202E0E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6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2A90DB4-0961-441E-8CED-D1BB66C3C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Analyse und Herangehensweise</a:t>
            </a:r>
            <a:br>
              <a:rPr lang="de-DE" dirty="0"/>
            </a:br>
            <a:r>
              <a:rPr lang="de-DE" sz="1800" dirty="0"/>
              <a:t>Zieldefinitio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650036-2E09-4A24-B6F9-ED2762BE336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398FA62-3EB0-40B6-869C-87619F5431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240578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Zieldefinition</a:t>
            </a:r>
          </a:p>
          <a:p>
            <a:pPr marL="465750" lvl="2" indent="-285750"/>
            <a:r>
              <a:rPr lang="de-DE" dirty="0"/>
              <a:t>Anwendung, welche den Zufallsgenerator implizit nutzt</a:t>
            </a:r>
          </a:p>
          <a:p>
            <a:pPr marL="465750" lvl="2" indent="-285750"/>
            <a:r>
              <a:rPr lang="de-DE" dirty="0"/>
              <a:t>Keine Einbindung einer „Zufallszahlenanwendung“ Bibliothek</a:t>
            </a:r>
          </a:p>
          <a:p>
            <a:pPr marL="465750" lvl="2" indent="-285750"/>
            <a:r>
              <a:rPr lang="de-DE" dirty="0"/>
              <a:t>Klassisches EVA-Prinzip</a:t>
            </a:r>
          </a:p>
          <a:p>
            <a:pPr marL="645750" lvl="3" indent="-285750"/>
            <a:r>
              <a:rPr lang="de-DE" dirty="0"/>
              <a:t>Einlesen von Testdateien</a:t>
            </a:r>
          </a:p>
          <a:p>
            <a:pPr marL="645750" lvl="3" indent="-285750"/>
            <a:r>
              <a:rPr lang="de-DE" dirty="0"/>
              <a:t>Ausgabe von Testergebnissen</a:t>
            </a:r>
          </a:p>
          <a:p>
            <a:pPr marL="645750" lvl="3" indent="-285750"/>
            <a:r>
              <a:rPr lang="de-DE" dirty="0"/>
              <a:t>Anwendung kann vom Endbenutzer verwendet werden</a:t>
            </a:r>
          </a:p>
          <a:p>
            <a:pPr lvl="3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010650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E02D981-AEA9-4E3F-AF5C-727DC79EE4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6.07.2020</a:t>
            </a:fld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6D100C1-D6E2-45D3-82DE-65135C0A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7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97CB052B-9BBD-443B-ACF3-17790A0868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Analyse und Herangehensweise</a:t>
            </a:r>
            <a:br>
              <a:rPr lang="de-DE" dirty="0"/>
            </a:br>
            <a:r>
              <a:rPr lang="de-DE" sz="1800" dirty="0"/>
              <a:t>Eingabe </a:t>
            </a:r>
            <a:r>
              <a:rPr lang="de-DE" sz="1800" dirty="0" smtClean="0"/>
              <a:t>/ Ausgabe von Informatione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C7A89A9-236E-42B6-8039-9DCE98C6BFD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398FA62-3EB0-40B6-869C-87619F5431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0800" y="1412876"/>
            <a:ext cx="3458741" cy="444737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Eingabe: Berechnung</a:t>
            </a:r>
            <a:endParaRPr lang="de-DE" dirty="0"/>
          </a:p>
          <a:p>
            <a:pPr marL="465750" lvl="2" indent="-285750"/>
            <a:r>
              <a:rPr lang="de-DE" dirty="0" smtClean="0"/>
              <a:t>Kommentare / </a:t>
            </a:r>
            <a:r>
              <a:rPr lang="de-DE" dirty="0" err="1" smtClean="0"/>
              <a:t>Infotext</a:t>
            </a:r>
            <a:endParaRPr lang="de-DE" dirty="0" smtClean="0"/>
          </a:p>
          <a:p>
            <a:pPr marL="465750" lvl="2" indent="-285750"/>
            <a:r>
              <a:rPr lang="de-DE" dirty="0" smtClean="0"/>
              <a:t>Ziel: Zufallszahlengenerierung</a:t>
            </a:r>
          </a:p>
          <a:p>
            <a:pPr marL="465750" lvl="2" indent="-285750"/>
            <a:r>
              <a:rPr lang="de-DE" dirty="0" smtClean="0"/>
              <a:t>Generator: LCG</a:t>
            </a:r>
          </a:p>
          <a:p>
            <a:pPr marL="465750" lvl="2" indent="-285750"/>
            <a:r>
              <a:rPr lang="de-DE" dirty="0" smtClean="0"/>
              <a:t>Parameter: m=1, a=2, …</a:t>
            </a:r>
          </a:p>
          <a:p>
            <a:pPr lvl="2" indent="0">
              <a:buNone/>
            </a:pPr>
            <a:endParaRPr lang="de-DE" dirty="0" smtClean="0"/>
          </a:p>
          <a:p>
            <a:pPr lvl="2" indent="0">
              <a:buNone/>
            </a:pPr>
            <a:endParaRPr lang="de-DE" dirty="0" smtClean="0"/>
          </a:p>
          <a:p>
            <a:pPr lvl="2" indent="0">
              <a:buNone/>
            </a:pPr>
            <a:endParaRPr lang="de-DE" dirty="0" smtClean="0"/>
          </a:p>
          <a:p>
            <a:pPr lvl="2" indent="0">
              <a:buNone/>
            </a:pP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chemeClr val="accent1"/>
                </a:solidFill>
              </a:rPr>
              <a:t>Eingabe: Bewertung</a:t>
            </a:r>
          </a:p>
          <a:p>
            <a:pPr marL="465750" lvl="2" indent="-285750"/>
            <a:r>
              <a:rPr lang="de-DE" dirty="0"/>
              <a:t>Kommentare / </a:t>
            </a:r>
            <a:r>
              <a:rPr lang="de-DE" dirty="0" err="1"/>
              <a:t>Infotext</a:t>
            </a:r>
            <a:endParaRPr lang="de-DE" dirty="0"/>
          </a:p>
          <a:p>
            <a:pPr marL="465750" lvl="2" indent="-285750"/>
            <a:r>
              <a:rPr lang="de-DE" dirty="0"/>
              <a:t>Ziel: Bewertung</a:t>
            </a:r>
          </a:p>
          <a:p>
            <a:pPr marL="465750" lvl="2" indent="-285750"/>
            <a:r>
              <a:rPr lang="de-DE" dirty="0"/>
              <a:t>Zufallszahlen: 2, 3, 4, 5, …</a:t>
            </a:r>
          </a:p>
          <a:p>
            <a:pPr lvl="2" indent="0">
              <a:buNone/>
            </a:pPr>
            <a:endParaRPr lang="de-DE" dirty="0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8398FA62-3EB0-40B6-869C-87619F543179}"/>
              </a:ext>
            </a:extLst>
          </p:cNvPr>
          <p:cNvSpPr txBox="1">
            <a:spLocks/>
          </p:cNvSpPr>
          <p:nvPr/>
        </p:nvSpPr>
        <p:spPr bwMode="gray">
          <a:xfrm>
            <a:off x="7392144" y="1412876"/>
            <a:ext cx="3666380" cy="41242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usgabe: Berechnung</a:t>
            </a:r>
          </a:p>
          <a:p>
            <a:pPr marL="465750" lvl="2" indent="-285750"/>
            <a:r>
              <a:rPr lang="de-DE" dirty="0" smtClean="0"/>
              <a:t>Eingabeinformation</a:t>
            </a:r>
          </a:p>
          <a:p>
            <a:pPr marL="465750" lvl="2" indent="-285750"/>
            <a:r>
              <a:rPr lang="de-DE" dirty="0" smtClean="0"/>
              <a:t>Zahlenfolge</a:t>
            </a:r>
          </a:p>
          <a:p>
            <a:pPr lvl="2" indent="0">
              <a:buFont typeface="Arial" panose="020B0604020202020204" pitchFamily="34" charset="0"/>
              <a:buNone/>
            </a:pPr>
            <a:endParaRPr lang="de-DE" dirty="0" smtClean="0"/>
          </a:p>
          <a:p>
            <a:pPr lvl="2" indent="0">
              <a:buFont typeface="Arial" panose="020B0604020202020204" pitchFamily="34" charset="0"/>
              <a:buNone/>
            </a:pPr>
            <a:endParaRPr lang="de-DE" dirty="0" smtClean="0"/>
          </a:p>
          <a:p>
            <a:pPr lvl="2" indent="0">
              <a:buFont typeface="Arial" panose="020B0604020202020204" pitchFamily="34" charset="0"/>
              <a:buNone/>
            </a:pPr>
            <a:endParaRPr lang="de-DE" dirty="0"/>
          </a:p>
          <a:p>
            <a:pPr lvl="2" indent="0">
              <a:buFont typeface="Arial" panose="020B0604020202020204" pitchFamily="34" charset="0"/>
              <a:buNone/>
            </a:pPr>
            <a:endParaRPr lang="de-DE" dirty="0"/>
          </a:p>
          <a:p>
            <a:pPr lvl="2" indent="0">
              <a:buFont typeface="Arial" panose="020B0604020202020204" pitchFamily="34" charset="0"/>
              <a:buNone/>
            </a:pPr>
            <a:endParaRPr lang="de-DE" dirty="0" smtClean="0"/>
          </a:p>
          <a:p>
            <a:pPr lvl="2" indent="0">
              <a:buFont typeface="Arial" panose="020B0604020202020204" pitchFamily="34" charset="0"/>
              <a:buNone/>
            </a:pPr>
            <a:endParaRPr lang="de-DE" dirty="0"/>
          </a:p>
          <a:p>
            <a:pPr lvl="2" indent="0">
              <a:buFont typeface="Arial" panose="020B0604020202020204" pitchFamily="34" charset="0"/>
              <a:buNone/>
            </a:pPr>
            <a:endParaRPr lang="de-DE" dirty="0" smtClean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b="1" dirty="0" smtClean="0">
                <a:solidFill>
                  <a:schemeClr val="accent1"/>
                </a:solidFill>
              </a:rPr>
              <a:t>Ausgabe: Bewertung</a:t>
            </a:r>
          </a:p>
          <a:p>
            <a:pPr marL="465750" lvl="2" indent="-285750"/>
            <a:r>
              <a:rPr lang="de-DE" dirty="0" smtClean="0"/>
              <a:t>Eingabeinformation</a:t>
            </a:r>
          </a:p>
          <a:p>
            <a:pPr marL="465750" lvl="2" indent="-285750"/>
            <a:r>
              <a:rPr lang="de-DE" dirty="0" smtClean="0"/>
              <a:t>Bewertungsergebnis</a:t>
            </a:r>
            <a:endParaRPr lang="de-DE" dirty="0"/>
          </a:p>
        </p:txBody>
      </p:sp>
      <p:sp>
        <p:nvSpPr>
          <p:cNvPr id="3" name="Pfeil nach rechts 2"/>
          <p:cNvSpPr/>
          <p:nvPr/>
        </p:nvSpPr>
        <p:spPr>
          <a:xfrm>
            <a:off x="4474629" y="1556792"/>
            <a:ext cx="2265259" cy="720080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endParaRPr lang="de-DE" sz="1600" dirty="0" err="1" smtClean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1" name="Pfeil nach rechts 10"/>
          <p:cNvSpPr/>
          <p:nvPr/>
        </p:nvSpPr>
        <p:spPr>
          <a:xfrm>
            <a:off x="4474629" y="4810047"/>
            <a:ext cx="2265259" cy="720080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endParaRPr lang="de-DE" sz="1600" dirty="0" err="1" smtClean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03332532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13890A2-D96B-4ACC-8910-3CE6815AB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6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5B4464-5C32-4CAC-B095-F53846C74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8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9FB13C9-6243-4630-8E2E-5B8FD1AE5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615553"/>
          </a:xfrm>
        </p:spPr>
        <p:txBody>
          <a:bodyPr/>
          <a:lstStyle/>
          <a:p>
            <a:r>
              <a:rPr lang="de-DE" dirty="0"/>
              <a:t>Analyse und Herangehensweise</a:t>
            </a:r>
            <a:br>
              <a:rPr lang="de-DE" dirty="0"/>
            </a:br>
            <a:r>
              <a:rPr lang="de-DE" dirty="0"/>
              <a:t>Verarbeitung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9DDCCF1-469C-42B3-9388-15999E6415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5362" name="Picture 2">
            <a:extLst>
              <a:ext uri="{FF2B5EF4-FFF2-40B4-BE49-F238E27FC236}">
                <a16:creationId xmlns:a16="http://schemas.microsoft.com/office/drawing/2014/main" id="{34892013-383A-441F-A4FF-18B3F40392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1475" y="1277434"/>
            <a:ext cx="5832648" cy="48433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28D2394-2B60-4AF8-997C-C6DB873279AF}"/>
              </a:ext>
            </a:extLst>
          </p:cNvPr>
          <p:cNvCxnSpPr/>
          <p:nvPr/>
        </p:nvCxnSpPr>
        <p:spPr>
          <a:xfrm>
            <a:off x="2783632" y="6858000"/>
            <a:ext cx="8755196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66C245EA-6CFC-43BA-9520-F4642DD7011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6736" y="1296405"/>
            <a:ext cx="4860428" cy="178510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erechnung</a:t>
            </a:r>
          </a:p>
          <a:p>
            <a:pPr marL="465750" lvl="2" indent="-285750"/>
            <a:r>
              <a:rPr lang="de-DE" dirty="0"/>
              <a:t>Basierend auf Aufgabenstellung</a:t>
            </a:r>
          </a:p>
          <a:p>
            <a:pPr marL="465750" lvl="2" indent="-285750"/>
            <a:r>
              <a:rPr lang="de-DE" dirty="0"/>
              <a:t>Erweiterbarkeit nicht inbegriffen</a:t>
            </a:r>
          </a:p>
          <a:p>
            <a:pPr marL="645750" lvl="3" indent="-285750"/>
            <a:r>
              <a:rPr lang="de-DE" dirty="0"/>
              <a:t>Weitere Generatoren</a:t>
            </a:r>
          </a:p>
          <a:p>
            <a:pPr marL="645750" lvl="3" indent="-285750"/>
            <a:r>
              <a:rPr lang="de-DE" dirty="0"/>
              <a:t>Weitere Bewertungen</a:t>
            </a:r>
          </a:p>
          <a:p>
            <a:pPr marL="645750" lvl="3" indent="-285750"/>
            <a:r>
              <a:rPr lang="de-DE" dirty="0"/>
              <a:t>Individuelle Bedingungen</a:t>
            </a:r>
          </a:p>
        </p:txBody>
      </p:sp>
    </p:spTree>
    <p:extLst>
      <p:ext uri="{BB962C8B-B14F-4D97-AF65-F5344CB8AC3E}">
        <p14:creationId xmlns:p14="http://schemas.microsoft.com/office/powerpoint/2010/main" val="298636845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2D93FD0-C8D5-4767-96E8-6277EEA737A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5316" y="917716"/>
            <a:ext cx="3093796" cy="3339376"/>
          </a:xfrm>
        </p:spPr>
        <p:txBody>
          <a:bodyPr/>
          <a:lstStyle/>
          <a:p>
            <a:r>
              <a:rPr lang="de-DE" dirty="0"/>
              <a:t>02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252D365-DF44-4282-A737-B85582FF44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ogramm / System</a:t>
            </a:r>
          </a:p>
        </p:txBody>
      </p:sp>
    </p:spTree>
    <p:extLst>
      <p:ext uri="{BB962C8B-B14F-4D97-AF65-F5344CB8AC3E}">
        <p14:creationId xmlns:p14="http://schemas.microsoft.com/office/powerpoint/2010/main" val="223201015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WEMWPjRY2FXlW0sFM6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4O6re_QrGYS9NFD4QXW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.SVKfzQJmje.JcJjR0d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IGNEDEDITOR" val="#Re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4uwk2ERZaJmlhGdtYm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xzNMdvR5qA1Ne24pEQ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_k3rd0SgqAH_HB5OEB.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ch_hab_kb">
  <a:themeElements>
    <a:clrScheme name="Gothaer02">
      <a:dk1>
        <a:srgbClr val="000000"/>
      </a:dk1>
      <a:lt1>
        <a:srgbClr val="FFFFFF"/>
      </a:lt1>
      <a:dk2>
        <a:srgbClr val="005064"/>
      </a:dk2>
      <a:lt2>
        <a:srgbClr val="CCE3E9"/>
      </a:lt2>
      <a:accent1>
        <a:srgbClr val="00718F"/>
      </a:accent1>
      <a:accent2>
        <a:srgbClr val="78B4C4"/>
      </a:accent2>
      <a:accent3>
        <a:srgbClr val="A7C800"/>
      </a:accent3>
      <a:accent4>
        <a:srgbClr val="4899AF"/>
      </a:accent4>
      <a:accent5>
        <a:srgbClr val="E1100A"/>
      </a:accent5>
      <a:accent6>
        <a:srgbClr val="DFDCD7"/>
      </a:accent6>
      <a:hlink>
        <a:srgbClr val="00718F"/>
      </a:hlink>
      <a:folHlink>
        <a:srgbClr val="78B4C4"/>
      </a:folHlink>
    </a:clrScheme>
    <a:fontScheme name="Benutzerdefiniert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t"/>
      <a:lstStyle>
        <a:defPPr algn="l">
          <a:spcBef>
            <a:spcPts val="600"/>
          </a:spcBef>
          <a:buClr>
            <a:schemeClr val="accent1"/>
          </a:buClr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Bef>
            <a:spcPts val="600"/>
          </a:spcBef>
          <a:buClr>
            <a:schemeClr val="accent1"/>
          </a:buClr>
          <a:defRPr sz="1600" dirty="0" err="1" smtClean="0"/>
        </a:defPPr>
      </a:lstStyle>
    </a:txDef>
  </a:objectDefaults>
  <a:extraClrSchemeLst/>
  <a:custClrLst>
    <a:custClr name="Gothaer Blau 35%">
      <a:srgbClr val="A8CFD9"/>
    </a:custClr>
    <a:custClr name="Gothaer Gruen 75%">
      <a:srgbClr val="BDD640"/>
    </a:custClr>
    <a:custClr name="Gothaer Gruen 50%">
      <a:srgbClr val="D3E380"/>
    </a:custClr>
    <a:custClr name="Gothaer Gruen 35%">
      <a:srgbClr val="E0ECA6"/>
    </a:custClr>
    <a:custClr name="Gothaer Gruen 20%">
      <a:srgbClr val="EDF4CC"/>
    </a:custClr>
    <a:custClr name="Gothaer Grau 75% ">
      <a:srgbClr val="E7E5E1"/>
    </a:custClr>
    <a:custClr name="Gothaer Grau 50%">
      <a:srgbClr val="EFEDEB"/>
    </a:custClr>
    <a:custClr name="Gothaer Grau 35%">
      <a:srgbClr val="F4F3F1"/>
    </a:custClr>
    <a:custClr name="Gothaer Grau 20%">
      <a:srgbClr val="F9F8F7"/>
    </a:custClr>
  </a:custClrLst>
  <a:extLst>
    <a:ext uri="{05A4C25C-085E-4340-85A3-A5531E510DB2}">
      <thm15:themeFamily xmlns:thm15="http://schemas.microsoft.com/office/thememl/2012/main" name="Gothaer_Master_16zu9_scr10.potx" id="{39CDC12C-CC27-49BF-8F6C-D9028B0181F2}" vid="{29B9E739-BCA6-4564-9E9C-D0C03CE9D02C}"/>
    </a:ext>
  </a:extLst>
</a:theme>
</file>

<file path=ppt/theme/theme2.xml><?xml version="1.0" encoding="utf-8"?>
<a:theme xmlns:a="http://schemas.openxmlformats.org/drawingml/2006/main" name="Office">
  <a:themeElements>
    <a:clrScheme name="Gothaer">
      <a:dk1>
        <a:sysClr val="windowText" lastClr="000000"/>
      </a:dk1>
      <a:lt1>
        <a:sysClr val="window" lastClr="FFFFFF"/>
      </a:lt1>
      <a:dk2>
        <a:srgbClr val="000000"/>
      </a:dk2>
      <a:lt2>
        <a:srgbClr val="DFDCD7"/>
      </a:lt2>
      <a:accent1>
        <a:srgbClr val="00718F"/>
      </a:accent1>
      <a:accent2>
        <a:srgbClr val="78B4C4"/>
      </a:accent2>
      <a:accent3>
        <a:srgbClr val="A7C800"/>
      </a:accent3>
      <a:accent4>
        <a:srgbClr val="525252"/>
      </a:accent4>
      <a:accent5>
        <a:srgbClr val="A5A5A5"/>
      </a:accent5>
      <a:accent6>
        <a:srgbClr val="E1100A"/>
      </a:accent6>
      <a:hlink>
        <a:srgbClr val="00718F"/>
      </a:hlink>
      <a:folHlink>
        <a:srgbClr val="78B4C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Gothaer">
      <a:dk1>
        <a:sysClr val="windowText" lastClr="000000"/>
      </a:dk1>
      <a:lt1>
        <a:sysClr val="window" lastClr="FFFFFF"/>
      </a:lt1>
      <a:dk2>
        <a:srgbClr val="000000"/>
      </a:dk2>
      <a:lt2>
        <a:srgbClr val="DFDCD7"/>
      </a:lt2>
      <a:accent1>
        <a:srgbClr val="00718F"/>
      </a:accent1>
      <a:accent2>
        <a:srgbClr val="78B4C4"/>
      </a:accent2>
      <a:accent3>
        <a:srgbClr val="A7C800"/>
      </a:accent3>
      <a:accent4>
        <a:srgbClr val="525252"/>
      </a:accent4>
      <a:accent5>
        <a:srgbClr val="A5A5A5"/>
      </a:accent5>
      <a:accent6>
        <a:srgbClr val="E1100A"/>
      </a:accent6>
      <a:hlink>
        <a:srgbClr val="00718F"/>
      </a:hlink>
      <a:folHlink>
        <a:srgbClr val="78B4C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ch_hab_kb</Template>
  <TotalTime>0</TotalTime>
  <Words>524</Words>
  <Application>Microsoft Office PowerPoint</Application>
  <PresentationFormat>Breitbild</PresentationFormat>
  <Paragraphs>187</Paragraphs>
  <Slides>21</Slides>
  <Notes>1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6" baseType="lpstr">
      <vt:lpstr>Arial</vt:lpstr>
      <vt:lpstr>Symbol</vt:lpstr>
      <vt:lpstr>Wingdings</vt:lpstr>
      <vt:lpstr>ich_hab_kb</vt:lpstr>
      <vt:lpstr>think-cell Folie</vt:lpstr>
      <vt:lpstr>Präsentation zur GroPro Abschlussprüfung Sommer 2020</vt:lpstr>
      <vt:lpstr>Gothaer Systems GmbH </vt:lpstr>
      <vt:lpstr>Agenda</vt:lpstr>
      <vt:lpstr>PowerPoint-Präsentation</vt:lpstr>
      <vt:lpstr>Analyse und Herangehensweise Zieldefinition</vt:lpstr>
      <vt:lpstr>Analyse und Herangehensweise Zieldefinition</vt:lpstr>
      <vt:lpstr>Analyse und Herangehensweise Eingabe / Ausgabe von Informationen</vt:lpstr>
      <vt:lpstr>Analyse und Herangehensweise Verarbeitung</vt:lpstr>
      <vt:lpstr>PowerPoint-Präsentation</vt:lpstr>
      <vt:lpstr>Programm / System Verfahrensbeschreibung</vt:lpstr>
      <vt:lpstr>Programm / System Verfahrensbeschreibung</vt:lpstr>
      <vt:lpstr>Programm / System Klassenstruktur - View</vt:lpstr>
      <vt:lpstr>Programm / System Datenfluss</vt:lpstr>
      <vt:lpstr>PowerPoint-Präsentation</vt:lpstr>
      <vt:lpstr>Testing Testfälle</vt:lpstr>
      <vt:lpstr>Testing Beispiel 1</vt:lpstr>
      <vt:lpstr>Testing Beispiel 2</vt:lpstr>
      <vt:lpstr>PowerPoint-Präsentation</vt:lpstr>
      <vt:lpstr>Ergebnisinterpretation und Ausblick Bewertung</vt:lpstr>
      <vt:lpstr>Ergebnisinterpretation und Ausblick Programmerweiterungen</vt:lpstr>
      <vt:lpstr>Vielen Dank für Ihre Aufmerksamkeit</vt:lpstr>
    </vt:vector>
  </TitlesOfParts>
  <Manager>Vorname, Name</Manager>
  <Company>Gotha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 zur GroPro – Sommersemester 2019</dc:title>
  <dc:subject>PowerPoint-Master</dc:subject>
  <dc:creator>Lukas Kondziella</dc:creator>
  <dc:description>Optimiert für PowerPoint 2016</dc:description>
  <cp:lastModifiedBy>Bjarne Herrmann</cp:lastModifiedBy>
  <cp:revision>111</cp:revision>
  <cp:lastPrinted>2019-05-24T13:54:24Z</cp:lastPrinted>
  <dcterms:created xsi:type="dcterms:W3CDTF">2019-06-25T06:47:37Z</dcterms:created>
  <dcterms:modified xsi:type="dcterms:W3CDTF">2020-07-16T11:04:46Z</dcterms:modified>
  <cp:category>PowerPoint-Master</cp:category>
</cp:coreProperties>
</file>